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ppt/tags/tag16.xml" ContentType="application/vnd.openxmlformats-officedocument.presentationml.tags+xml"/>
  <Override PartName="/ppt/notesSlides/notesSlide2.xml" ContentType="application/vnd.openxmlformats-officedocument.presentationml.notesSlide+xml"/>
  <Override PartName="/ppt/tags/tag17.xml" ContentType="application/vnd.openxmlformats-officedocument.presentationml.tags+xml"/>
  <Override PartName="/ppt/comments/modernComment_7FFFD867_DBA41DEA.xml" ContentType="application/vnd.ms-powerpoint.comments+xml"/>
  <Override PartName="/ppt/tags/tag18.xml" ContentType="application/vnd.openxmlformats-officedocument.presentationml.tags+xml"/>
  <Override PartName="/ppt/comments/modernComment_7FFFD869_409C18E.xml" ContentType="application/vnd.ms-powerpoint.comments+xml"/>
  <Override PartName="/ppt/tags/tag19.xml" ContentType="application/vnd.openxmlformats-officedocument.presentationml.tags+xml"/>
  <Override PartName="/ppt/notesSlides/notesSlide3.xml" ContentType="application/vnd.openxmlformats-officedocument.presentationml.notesSlide+xml"/>
  <Override PartName="/ppt/comments/modernComment_7FFFD868_A94B6C6C.xml" ContentType="application/vnd.ms-powerpoint.comments+xml"/>
  <Override PartName="/ppt/tags/tag20.xml" ContentType="application/vnd.openxmlformats-officedocument.presentationml.tags+xml"/>
  <Override PartName="/ppt/notesSlides/notesSlide4.xml" ContentType="application/vnd.openxmlformats-officedocument.presentationml.notesSlide+xml"/>
  <Override PartName="/ppt/tags/tag21.xml" ContentType="application/vnd.openxmlformats-officedocument.presentationml.tags+xml"/>
  <Override PartName="/ppt/comments/modernComment_7FFFD860_9A23C0E2.xml" ContentType="application/vnd.ms-powerpoint.comment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08" r:id="rId4"/>
  </p:sldMasterIdLst>
  <p:notesMasterIdLst>
    <p:notesMasterId r:id="rId18"/>
  </p:notesMasterIdLst>
  <p:handoutMasterIdLst>
    <p:handoutMasterId r:id="rId19"/>
  </p:handoutMasterIdLst>
  <p:sldIdLst>
    <p:sldId id="2147473507" r:id="rId5"/>
    <p:sldId id="2147473199" r:id="rId6"/>
    <p:sldId id="2147473341" r:id="rId7"/>
    <p:sldId id="2147473194" r:id="rId8"/>
    <p:sldId id="2147473511" r:id="rId9"/>
    <p:sldId id="2147473513" r:id="rId10"/>
    <p:sldId id="2147473512" r:id="rId11"/>
    <p:sldId id="2147472761" r:id="rId12"/>
    <p:sldId id="2147473504" r:id="rId13"/>
    <p:sldId id="2147473508" r:id="rId14"/>
    <p:sldId id="2147471437" r:id="rId15"/>
    <p:sldId id="2147473506" r:id="rId16"/>
    <p:sldId id="2147473505" r:id="rId17"/>
  </p:sldIdLst>
  <p:sldSz cx="12192000" cy="6858000"/>
  <p:notesSz cx="6858000" cy="9144000"/>
  <p:custDataLst>
    <p:tags r:id="rId20"/>
  </p:custDataLst>
  <p:defaultTextStyle>
    <a:defPPr>
      <a:defRPr lang="en-US"/>
    </a:defPPr>
    <a:lvl1pPr marL="0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A281C09-1964-2C3E-8767-8257508F3D5A}" name="Charlie Albright" initials="CA" userId="S::cfalbright@affiniatx.com::e1372539-12b2-496a-b8ab-0f73c0157c9c" providerId="AD"/>
  <p188:author id="{F6BD2916-D835-09F0-E6F3-1275EC8BA887}" name="Rob May" initials="RM" userId="S::rmay@affiniatx.com::36c7de3c-9315-48a4-965a-77b2f0326ee0" providerId="AD"/>
  <p188:author id="{FB50B81A-FEDD-15F8-41E8-04EBED7A3AB5}" name="Shahrzad Parker" initials="SP" userId="S::sparker@affiniatx.com::2e6993cb-0e19-4962-b0e4-afd4673d9e12" providerId="AD"/>
  <p188:author id="{C5E69AC1-07A4-B27C-7DA3-BA60B600CBC1}" name="Shana Birly" initials="SB" userId="S::sbirly@affiniatx.com::fffe55a2-dca6-4e6d-863a-a7b1e62be160" providerId="AD"/>
  <p188:author id="{998545C5-1F1F-FF0F-E39A-FE4F4C735C88}" name="Rami Daoud" initials="RD" userId="S::ridaoud@affiniatx.com::6dbf3bda-777a-4b55-912a-a2673c3b226b" providerId="AD"/>
  <p188:author id="{567900C6-9FC2-762A-607A-C76500C513D9}" name="Matt Edwards" initials="ME" userId="S::medwards@affiniatx.com::743beebf-6b9a-4058-bd48-8c152c2503f6" providerId="AD"/>
  <p188:author id="{EE2615EC-9074-469A-AB92-DA27669E5DAA}" name="Laura Richman" initials="LR" userId="S::lkrichman@affiniatx.com::d760db1b-3784-4349-bfde-7c8f91093429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FC8D0"/>
    <a:srgbClr val="4D565E"/>
    <a:srgbClr val="2D3943"/>
    <a:srgbClr val="15748B"/>
    <a:srgbClr val="622BB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  <p:ext uri="{1BD7E111-0CB8-44D6-8891-C1BB2F81B7CC}">
      <p1710:readonlyRecommended xmlns:p1710="http://schemas.microsoft.com/office/powerpoint/2017/10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78053B7-500E-2023-59BF-93C3D01D8E41}" v="216" dt="2025-05-09T12:49:21.459"/>
    <p1510:client id="{26B4C10B-A128-C2A8-F8C8-D9FB38CCF69B}" v="1" dt="2025-05-09T12:06:57.457"/>
    <p1510:client id="{6E0D4990-385D-3310-AF8C-77F44A51B22E}" v="3" dt="2025-05-07T19:31:41.042"/>
    <p1510:client id="{8279FFC9-BDF3-3DB5-D2F1-8F3F1560F2D0}" v="5" dt="2025-05-07T20:17:37.447"/>
    <p1510:client id="{850AB389-19EF-15FE-B0F2-78F20A39B5DA}" v="104" dt="2025-05-08T16:42:51.916"/>
    <p1510:client id="{8B6F4D5A-DBE7-A9BD-3117-A27017FCA06D}" v="2" dt="2025-05-08T14:58:36.63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75" d="100"/>
          <a:sy n="75" d="100"/>
        </p:scale>
        <p:origin x="56" y="51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26" Type="http://schemas.microsoft.com/office/2015/10/relationships/revisionInfo" Target="revisionInfo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Relationship Id="rId27" Type="http://schemas.microsoft.com/office/2018/10/relationships/authors" Target="author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hana Birly" userId="S::sbirly@affiniatx.com::fffe55a2-dca6-4e6d-863a-a7b1e62be160" providerId="AD" clId="Web-{6E0D4990-385D-3310-AF8C-77F44A51B22E}"/>
    <pc:docChg chg="mod">
      <pc:chgData name="Shana Birly" userId="S::sbirly@affiniatx.com::fffe55a2-dca6-4e6d-863a-a7b1e62be160" providerId="AD" clId="Web-{6E0D4990-385D-3310-AF8C-77F44A51B22E}" dt="2025-05-07T19:31:16.104" v="0"/>
      <pc:docMkLst>
        <pc:docMk/>
      </pc:docMkLst>
    </pc:docChg>
  </pc:docChgLst>
  <pc:docChgLst>
    <pc:chgData name="Matt Edwards" userId="S::medwards@affiniatx.com::743beebf-6b9a-4058-bd48-8c152c2503f6" providerId="AD" clId="Web-{BC62031A-BC49-A726-78E5-D52F1F0BDD60}"/>
    <pc:docChg chg="modSld">
      <pc:chgData name="Matt Edwards" userId="S::medwards@affiniatx.com::743beebf-6b9a-4058-bd48-8c152c2503f6" providerId="AD" clId="Web-{BC62031A-BC49-A726-78E5-D52F1F0BDD60}" dt="2025-05-02T13:10:48.360" v="0" actId="14100"/>
      <pc:docMkLst>
        <pc:docMk/>
      </pc:docMkLst>
      <pc:sldChg chg="modSp">
        <pc:chgData name="Matt Edwards" userId="S::medwards@affiniatx.com::743beebf-6b9a-4058-bd48-8c152c2503f6" providerId="AD" clId="Web-{BC62031A-BC49-A726-78E5-D52F1F0BDD60}" dt="2025-05-02T13:10:48.360" v="0" actId="14100"/>
        <pc:sldMkLst>
          <pc:docMk/>
          <pc:sldMk cId="3684965866" sldId="2147473511"/>
        </pc:sldMkLst>
        <pc:spChg chg="mod">
          <ac:chgData name="Matt Edwards" userId="S::medwards@affiniatx.com::743beebf-6b9a-4058-bd48-8c152c2503f6" providerId="AD" clId="Web-{BC62031A-BC49-A726-78E5-D52F1F0BDD60}" dt="2025-05-02T13:10:48.360" v="0" actId="14100"/>
          <ac:spMkLst>
            <pc:docMk/>
            <pc:sldMk cId="3684965866" sldId="2147473511"/>
            <ac:spMk id="3" creationId="{7CA9FCAE-4DB7-AD4B-FB08-F03A25917BCE}"/>
          </ac:spMkLst>
        </pc:spChg>
      </pc:sldChg>
    </pc:docChg>
  </pc:docChgLst>
  <pc:docChgLst>
    <pc:chgData name="Rob May" userId="S::rmay@affiniatx.com::36c7de3c-9315-48a4-965a-77b2f0326ee0" providerId="AD" clId="Web-{8B6F4D5A-DBE7-A9BD-3117-A27017FCA06D}"/>
    <pc:docChg chg="mod">
      <pc:chgData name="Rob May" userId="S::rmay@affiniatx.com::36c7de3c-9315-48a4-965a-77b2f0326ee0" providerId="AD" clId="Web-{8B6F4D5A-DBE7-A9BD-3117-A27017FCA06D}" dt="2025-05-08T14:58:36.632" v="0"/>
      <pc:docMkLst>
        <pc:docMk/>
      </pc:docMkLst>
    </pc:docChg>
  </pc:docChgLst>
  <pc:docChgLst>
    <pc:chgData name="Shahrzad Parker" userId="S::sparker@affiniatx.com::2e6993cb-0e19-4962-b0e4-afd4673d9e12" providerId="AD" clId="Web-{BDC141A9-BFC3-0A43-26DB-AC9D9E3918E0}"/>
    <pc:docChg chg="modSld">
      <pc:chgData name="Shahrzad Parker" userId="S::sparker@affiniatx.com::2e6993cb-0e19-4962-b0e4-afd4673d9e12" providerId="AD" clId="Web-{BDC141A9-BFC3-0A43-26DB-AC9D9E3918E0}" dt="2025-04-15T18:44:43.872" v="0" actId="1076"/>
      <pc:docMkLst>
        <pc:docMk/>
      </pc:docMkLst>
      <pc:sldChg chg="modSp">
        <pc:chgData name="Shahrzad Parker" userId="S::sparker@affiniatx.com::2e6993cb-0e19-4962-b0e4-afd4673d9e12" providerId="AD" clId="Web-{BDC141A9-BFC3-0A43-26DB-AC9D9E3918E0}" dt="2025-04-15T18:44:43.872" v="0" actId="1076"/>
        <pc:sldMkLst>
          <pc:docMk/>
          <pc:sldMk cId="1198885967" sldId="2147473508"/>
        </pc:sldMkLst>
        <pc:picChg chg="mod">
          <ac:chgData name="Shahrzad Parker" userId="S::sparker@affiniatx.com::2e6993cb-0e19-4962-b0e4-afd4673d9e12" providerId="AD" clId="Web-{BDC141A9-BFC3-0A43-26DB-AC9D9E3918E0}" dt="2025-04-15T18:44:43.872" v="0" actId="1076"/>
          <ac:picMkLst>
            <pc:docMk/>
            <pc:sldMk cId="1198885967" sldId="2147473508"/>
            <ac:picMk id="38" creationId="{F5ADDAD3-A628-F37A-E8ED-1855CA5C7F67}"/>
          </ac:picMkLst>
        </pc:picChg>
      </pc:sldChg>
    </pc:docChg>
  </pc:docChgLst>
  <pc:docChgLst>
    <pc:chgData name="Rami Daoud" userId="6dbf3bda-777a-4b55-912a-a2673c3b226b" providerId="ADAL" clId="{EAE3B12C-91A0-42F7-B5CB-4AC3C4D35DAB}"/>
    <pc:docChg chg="modSld sldOrd">
      <pc:chgData name="Rami Daoud" userId="6dbf3bda-777a-4b55-912a-a2673c3b226b" providerId="ADAL" clId="{EAE3B12C-91A0-42F7-B5CB-4AC3C4D35DAB}" dt="2025-05-07T20:47:25.441" v="2"/>
      <pc:docMkLst>
        <pc:docMk/>
      </pc:docMkLst>
      <pc:sldChg chg="ord">
        <pc:chgData name="Rami Daoud" userId="6dbf3bda-777a-4b55-912a-a2673c3b226b" providerId="ADAL" clId="{EAE3B12C-91A0-42F7-B5CB-4AC3C4D35DAB}" dt="2025-05-07T20:47:25.441" v="2"/>
        <pc:sldMkLst>
          <pc:docMk/>
          <pc:sldMk cId="352107030" sldId="2147473199"/>
        </pc:sldMkLst>
      </pc:sldChg>
      <pc:sldChg chg="modSp mod">
        <pc:chgData name="Rami Daoud" userId="6dbf3bda-777a-4b55-912a-a2673c3b226b" providerId="ADAL" clId="{EAE3B12C-91A0-42F7-B5CB-4AC3C4D35DAB}" dt="2025-05-04T13:57:41.281" v="0" actId="13926"/>
        <pc:sldMkLst>
          <pc:docMk/>
          <pc:sldMk cId="757225403" sldId="2147473506"/>
        </pc:sldMkLst>
        <pc:spChg chg="mod">
          <ac:chgData name="Rami Daoud" userId="6dbf3bda-777a-4b55-912a-a2673c3b226b" providerId="ADAL" clId="{EAE3B12C-91A0-42F7-B5CB-4AC3C4D35DAB}" dt="2025-05-04T13:57:41.281" v="0" actId="13926"/>
          <ac:spMkLst>
            <pc:docMk/>
            <pc:sldMk cId="757225403" sldId="2147473506"/>
            <ac:spMk id="34" creationId="{2551C109-D2EE-EB21-98D5-6D8C0EDB9DC9}"/>
          </ac:spMkLst>
        </pc:spChg>
      </pc:sldChg>
    </pc:docChg>
  </pc:docChgLst>
  <pc:docChgLst>
    <pc:chgData name="Shahrzad Parker" userId="S::sparker@affiniatx.com::2e6993cb-0e19-4962-b0e4-afd4673d9e12" providerId="AD" clId="Web-{F07B31CE-3C0C-2356-3299-4000E382D1AC}"/>
    <pc:docChg chg="modSld">
      <pc:chgData name="Shahrzad Parker" userId="S::sparker@affiniatx.com::2e6993cb-0e19-4962-b0e4-afd4673d9e12" providerId="AD" clId="Web-{F07B31CE-3C0C-2356-3299-4000E382D1AC}" dt="2025-04-16T14:37:52.938" v="1" actId="1076"/>
      <pc:docMkLst>
        <pc:docMk/>
      </pc:docMkLst>
      <pc:sldChg chg="modSp">
        <pc:chgData name="Shahrzad Parker" userId="S::sparker@affiniatx.com::2e6993cb-0e19-4962-b0e4-afd4673d9e12" providerId="AD" clId="Web-{F07B31CE-3C0C-2356-3299-4000E382D1AC}" dt="2025-04-16T14:37:52.938" v="1" actId="1076"/>
        <pc:sldMkLst>
          <pc:docMk/>
          <pc:sldMk cId="1198885967" sldId="2147473508"/>
        </pc:sldMkLst>
        <pc:grpChg chg="mod">
          <ac:chgData name="Shahrzad Parker" userId="S::sparker@affiniatx.com::2e6993cb-0e19-4962-b0e4-afd4673d9e12" providerId="AD" clId="Web-{F07B31CE-3C0C-2356-3299-4000E382D1AC}" dt="2025-04-16T14:37:52.938" v="1" actId="1076"/>
          <ac:grpSpMkLst>
            <pc:docMk/>
            <pc:sldMk cId="1198885967" sldId="2147473508"/>
            <ac:grpSpMk id="41" creationId="{8AA3A78D-7CB3-D5D8-2D10-2CA1D8D2A211}"/>
          </ac:grpSpMkLst>
        </pc:grpChg>
      </pc:sldChg>
    </pc:docChg>
  </pc:docChgLst>
  <pc:docChgLst>
    <pc:chgData name="Matt Edwards" userId="S::medwards@affiniatx.com::743beebf-6b9a-4058-bd48-8c152c2503f6" providerId="AD" clId="Web-{178053B7-500E-2023-59BF-93C3D01D8E41}"/>
    <pc:docChg chg="modSld">
      <pc:chgData name="Matt Edwards" userId="S::medwards@affiniatx.com::743beebf-6b9a-4058-bd48-8c152c2503f6" providerId="AD" clId="Web-{178053B7-500E-2023-59BF-93C3D01D8E41}" dt="2025-05-09T12:49:19.037" v="218" actId="20577"/>
      <pc:docMkLst>
        <pc:docMk/>
      </pc:docMkLst>
      <pc:sldChg chg="modSp">
        <pc:chgData name="Matt Edwards" userId="S::medwards@affiniatx.com::743beebf-6b9a-4058-bd48-8c152c2503f6" providerId="AD" clId="Web-{178053B7-500E-2023-59BF-93C3D01D8E41}" dt="2025-05-09T12:17:14.011" v="109" actId="1076"/>
        <pc:sldMkLst>
          <pc:docMk/>
          <pc:sldMk cId="1035940203" sldId="2147471437"/>
        </pc:sldMkLst>
        <pc:graphicFrameChg chg="mod">
          <ac:chgData name="Matt Edwards" userId="S::medwards@affiniatx.com::743beebf-6b9a-4058-bd48-8c152c2503f6" providerId="AD" clId="Web-{178053B7-500E-2023-59BF-93C3D01D8E41}" dt="2025-05-09T12:17:04.089" v="107" actId="1076"/>
          <ac:graphicFrameMkLst>
            <pc:docMk/>
            <pc:sldMk cId="1035940203" sldId="2147471437"/>
            <ac:graphicFrameMk id="4" creationId="{A30D3114-DCDB-A469-2D26-1163694A82F7}"/>
          </ac:graphicFrameMkLst>
        </pc:graphicFrameChg>
        <pc:graphicFrameChg chg="mod modGraphic">
          <ac:chgData name="Matt Edwards" userId="S::medwards@affiniatx.com::743beebf-6b9a-4058-bd48-8c152c2503f6" providerId="AD" clId="Web-{178053B7-500E-2023-59BF-93C3D01D8E41}" dt="2025-05-09T12:17:00.542" v="106"/>
          <ac:graphicFrameMkLst>
            <pc:docMk/>
            <pc:sldMk cId="1035940203" sldId="2147471437"/>
            <ac:graphicFrameMk id="8" creationId="{AA12AE82-1BF7-8D43-1464-AF1D1EB9C3A3}"/>
          </ac:graphicFrameMkLst>
        </pc:graphicFrameChg>
        <pc:picChg chg="mod">
          <ac:chgData name="Matt Edwards" userId="S::medwards@affiniatx.com::743beebf-6b9a-4058-bd48-8c152c2503f6" providerId="AD" clId="Web-{178053B7-500E-2023-59BF-93C3D01D8E41}" dt="2025-05-09T12:17:13.980" v="108" actId="1076"/>
          <ac:picMkLst>
            <pc:docMk/>
            <pc:sldMk cId="1035940203" sldId="2147471437"/>
            <ac:picMk id="11" creationId="{B2F30AF8-3CCE-7BAA-AA65-D5BA87A2661D}"/>
          </ac:picMkLst>
        </pc:picChg>
        <pc:picChg chg="mod">
          <ac:chgData name="Matt Edwards" userId="S::medwards@affiniatx.com::743beebf-6b9a-4058-bd48-8c152c2503f6" providerId="AD" clId="Web-{178053B7-500E-2023-59BF-93C3D01D8E41}" dt="2025-05-09T12:17:14.011" v="109" actId="1076"/>
          <ac:picMkLst>
            <pc:docMk/>
            <pc:sldMk cId="1035940203" sldId="2147471437"/>
            <ac:picMk id="30" creationId="{E6605ABD-B1CE-B2D0-0BE4-1EB32C249C61}"/>
          </ac:picMkLst>
        </pc:picChg>
      </pc:sldChg>
      <pc:sldChg chg="modSp">
        <pc:chgData name="Matt Edwards" userId="S::medwards@affiniatx.com::743beebf-6b9a-4058-bd48-8c152c2503f6" providerId="AD" clId="Web-{178053B7-500E-2023-59BF-93C3D01D8E41}" dt="2025-05-09T12:49:19.037" v="218" actId="20577"/>
        <pc:sldMkLst>
          <pc:docMk/>
          <pc:sldMk cId="835583557" sldId="2147473505"/>
        </pc:sldMkLst>
        <pc:spChg chg="mod">
          <ac:chgData name="Matt Edwards" userId="S::medwards@affiniatx.com::743beebf-6b9a-4058-bd48-8c152c2503f6" providerId="AD" clId="Web-{178053B7-500E-2023-59BF-93C3D01D8E41}" dt="2025-05-09T12:48:50.300" v="207" actId="20577"/>
          <ac:spMkLst>
            <pc:docMk/>
            <pc:sldMk cId="835583557" sldId="2147473505"/>
            <ac:spMk id="3" creationId="{9CCF5A02-EA9D-23FF-48C1-71A58933B1B3}"/>
          </ac:spMkLst>
        </pc:spChg>
        <pc:spChg chg="mod">
          <ac:chgData name="Matt Edwards" userId="S::medwards@affiniatx.com::743beebf-6b9a-4058-bd48-8c152c2503f6" providerId="AD" clId="Web-{178053B7-500E-2023-59BF-93C3D01D8E41}" dt="2025-05-09T12:49:19.037" v="218" actId="20577"/>
          <ac:spMkLst>
            <pc:docMk/>
            <pc:sldMk cId="835583557" sldId="2147473505"/>
            <ac:spMk id="4" creationId="{6DC56175-3E0D-A290-C11E-4E3D8EA61496}"/>
          </ac:spMkLst>
        </pc:spChg>
      </pc:sldChg>
      <pc:sldChg chg="modSp">
        <pc:chgData name="Matt Edwards" userId="S::medwards@affiniatx.com::743beebf-6b9a-4058-bd48-8c152c2503f6" providerId="AD" clId="Web-{178053B7-500E-2023-59BF-93C3D01D8E41}" dt="2025-05-09T12:16:01.540" v="19" actId="20577"/>
        <pc:sldMkLst>
          <pc:docMk/>
          <pc:sldMk cId="757225403" sldId="2147473506"/>
        </pc:sldMkLst>
        <pc:spChg chg="mod">
          <ac:chgData name="Matt Edwards" userId="S::medwards@affiniatx.com::743beebf-6b9a-4058-bd48-8c152c2503f6" providerId="AD" clId="Web-{178053B7-500E-2023-59BF-93C3D01D8E41}" dt="2025-05-09T12:16:01.540" v="19" actId="20577"/>
          <ac:spMkLst>
            <pc:docMk/>
            <pc:sldMk cId="757225403" sldId="2147473506"/>
            <ac:spMk id="2" creationId="{0C283243-E825-7494-A885-25C2B65B55A3}"/>
          </ac:spMkLst>
        </pc:spChg>
        <pc:spChg chg="mod">
          <ac:chgData name="Matt Edwards" userId="S::medwards@affiniatx.com::743beebf-6b9a-4058-bd48-8c152c2503f6" providerId="AD" clId="Web-{178053B7-500E-2023-59BF-93C3D01D8E41}" dt="2025-05-09T12:15:38.321" v="16" actId="20577"/>
          <ac:spMkLst>
            <pc:docMk/>
            <pc:sldMk cId="757225403" sldId="2147473506"/>
            <ac:spMk id="3" creationId="{AE2CB28A-053C-3F19-E678-7314FAC81813}"/>
          </ac:spMkLst>
        </pc:spChg>
      </pc:sldChg>
      <pc:sldChg chg="addSp modSp modCm">
        <pc:chgData name="Matt Edwards" userId="S::medwards@affiniatx.com::743beebf-6b9a-4058-bd48-8c152c2503f6" providerId="AD" clId="Web-{178053B7-500E-2023-59BF-93C3D01D8E41}" dt="2025-05-09T12:22:11.599" v="170" actId="20577"/>
        <pc:sldMkLst>
          <pc:docMk/>
          <pc:sldMk cId="3684965866" sldId="2147473511"/>
        </pc:sldMkLst>
        <pc:spChg chg="mod">
          <ac:chgData name="Matt Edwards" userId="S::medwards@affiniatx.com::743beebf-6b9a-4058-bd48-8c152c2503f6" providerId="AD" clId="Web-{178053B7-500E-2023-59BF-93C3D01D8E41}" dt="2025-05-09T12:22:11.599" v="170" actId="20577"/>
          <ac:spMkLst>
            <pc:docMk/>
            <pc:sldMk cId="3684965866" sldId="2147473511"/>
            <ac:spMk id="2" creationId="{AA3221C7-DD0B-E7C5-CF07-0F197678940E}"/>
          </ac:spMkLst>
        </pc:spChg>
        <pc:spChg chg="mod">
          <ac:chgData name="Matt Edwards" userId="S::medwards@affiniatx.com::743beebf-6b9a-4058-bd48-8c152c2503f6" providerId="AD" clId="Web-{178053B7-500E-2023-59BF-93C3D01D8E41}" dt="2025-05-09T12:21:52.692" v="153" actId="20577"/>
          <ac:spMkLst>
            <pc:docMk/>
            <pc:sldMk cId="3684965866" sldId="2147473511"/>
            <ac:spMk id="3" creationId="{7CA9FCAE-4DB7-AD4B-FB08-F03A25917BCE}"/>
          </ac:spMkLst>
        </pc:spChg>
        <pc:grpChg chg="add mod">
          <ac:chgData name="Matt Edwards" userId="S::medwards@affiniatx.com::743beebf-6b9a-4058-bd48-8c152c2503f6" providerId="AD" clId="Web-{178053B7-500E-2023-59BF-93C3D01D8E41}" dt="2025-05-09T12:18:22.138" v="117" actId="1076"/>
          <ac:grpSpMkLst>
            <pc:docMk/>
            <pc:sldMk cId="3684965866" sldId="2147473511"/>
            <ac:grpSpMk id="5" creationId="{75256A32-4121-6A56-3B1E-536D676DDEAD}"/>
          </ac:grpSpMkLst>
        </pc:gr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Matt Edwards" userId="S::medwards@affiniatx.com::743beebf-6b9a-4058-bd48-8c152c2503f6" providerId="AD" clId="Web-{178053B7-500E-2023-59BF-93C3D01D8E41}" dt="2025-05-09T12:19:48.688" v="151" actId="20577"/>
              <pc2:cmMkLst xmlns:pc2="http://schemas.microsoft.com/office/powerpoint/2019/9/main/command">
                <pc:docMk/>
                <pc:sldMk cId="3684965866" sldId="2147473511"/>
                <pc2:cmMk id="{17A5A9ED-0CC0-4840-833A-E0120B5E6954}"/>
              </pc2:cmMkLst>
            </pc226:cmChg>
          </p:ext>
        </pc:extLst>
      </pc:sldChg>
      <pc:sldChg chg="modSp">
        <pc:chgData name="Matt Edwards" userId="S::medwards@affiniatx.com::743beebf-6b9a-4058-bd48-8c152c2503f6" providerId="AD" clId="Web-{178053B7-500E-2023-59BF-93C3D01D8E41}" dt="2025-05-09T12:23:08.507" v="175" actId="20577"/>
        <pc:sldMkLst>
          <pc:docMk/>
          <pc:sldMk cId="2840292460" sldId="2147473512"/>
        </pc:sldMkLst>
        <pc:spChg chg="mod">
          <ac:chgData name="Matt Edwards" userId="S::medwards@affiniatx.com::743beebf-6b9a-4058-bd48-8c152c2503f6" providerId="AD" clId="Web-{178053B7-500E-2023-59BF-93C3D01D8E41}" dt="2025-05-09T12:14:04.896" v="10" actId="20577"/>
          <ac:spMkLst>
            <pc:docMk/>
            <pc:sldMk cId="2840292460" sldId="2147473512"/>
            <ac:spMk id="8" creationId="{84D4B0ED-4217-C692-F946-CFF79B3CF3C2}"/>
          </ac:spMkLst>
        </pc:spChg>
        <pc:spChg chg="mod">
          <ac:chgData name="Matt Edwards" userId="S::medwards@affiniatx.com::743beebf-6b9a-4058-bd48-8c152c2503f6" providerId="AD" clId="Web-{178053B7-500E-2023-59BF-93C3D01D8E41}" dt="2025-05-09T12:23:08.507" v="175" actId="20577"/>
          <ac:spMkLst>
            <pc:docMk/>
            <pc:sldMk cId="2840292460" sldId="2147473512"/>
            <ac:spMk id="28" creationId="{9DCE3C7F-21B9-6204-5CF9-DF5767AF31D9}"/>
          </ac:spMkLst>
        </pc:spChg>
      </pc:sldChg>
      <pc:sldChg chg="modSp">
        <pc:chgData name="Matt Edwards" userId="S::medwards@affiniatx.com::743beebf-6b9a-4058-bd48-8c152c2503f6" providerId="AD" clId="Web-{178053B7-500E-2023-59BF-93C3D01D8E41}" dt="2025-05-09T12:17:37.793" v="115" actId="20577"/>
        <pc:sldMkLst>
          <pc:docMk/>
          <pc:sldMk cId="67748238" sldId="2147473513"/>
        </pc:sldMkLst>
        <pc:spChg chg="mod">
          <ac:chgData name="Matt Edwards" userId="S::medwards@affiniatx.com::743beebf-6b9a-4058-bd48-8c152c2503f6" providerId="AD" clId="Web-{178053B7-500E-2023-59BF-93C3D01D8E41}" dt="2025-05-09T12:17:37.793" v="115" actId="20577"/>
          <ac:spMkLst>
            <pc:docMk/>
            <pc:sldMk cId="67748238" sldId="2147473513"/>
            <ac:spMk id="66" creationId="{FBA7F7D1-F8D9-021D-B90B-A155284F1727}"/>
          </ac:spMkLst>
        </pc:spChg>
      </pc:sldChg>
    </pc:docChg>
  </pc:docChgLst>
  <pc:docChgLst>
    <pc:chgData name="Matt Edwards" userId="743beebf-6b9a-4058-bd48-8c152c2503f6" providerId="ADAL" clId="{CA3C3E19-C97F-4964-BC18-76325A524ACA}"/>
    <pc:docChg chg="undo custSel addSld delSld modSld sldOrd">
      <pc:chgData name="Matt Edwards" userId="743beebf-6b9a-4058-bd48-8c152c2503f6" providerId="ADAL" clId="{CA3C3E19-C97F-4964-BC18-76325A524ACA}" dt="2025-05-06T14:19:45.709" v="412"/>
      <pc:docMkLst>
        <pc:docMk/>
      </pc:docMkLst>
      <pc:sldChg chg="modSp">
        <pc:chgData name="Matt Edwards" userId="743beebf-6b9a-4058-bd48-8c152c2503f6" providerId="ADAL" clId="{CA3C3E19-C97F-4964-BC18-76325A524ACA}" dt="2025-05-06T14:19:45.709" v="412"/>
        <pc:sldMkLst>
          <pc:docMk/>
          <pc:sldMk cId="1035940203" sldId="2147471437"/>
        </pc:sldMkLst>
        <pc:graphicFrameChg chg="mod">
          <ac:chgData name="Matt Edwards" userId="743beebf-6b9a-4058-bd48-8c152c2503f6" providerId="ADAL" clId="{CA3C3E19-C97F-4964-BC18-76325A524ACA}" dt="2025-05-06T14:19:45.709" v="412"/>
          <ac:graphicFrameMkLst>
            <pc:docMk/>
            <pc:sldMk cId="1035940203" sldId="2147471437"/>
            <ac:graphicFrameMk id="4" creationId="{A30D3114-DCDB-A469-2D26-1163694A82F7}"/>
          </ac:graphicFrameMkLst>
        </pc:graphicFrameChg>
      </pc:sldChg>
      <pc:sldChg chg="addSp delSp modSp mod">
        <pc:chgData name="Matt Edwards" userId="743beebf-6b9a-4058-bd48-8c152c2503f6" providerId="ADAL" clId="{CA3C3E19-C97F-4964-BC18-76325A524ACA}" dt="2025-05-05T11:59:27.351" v="176"/>
        <pc:sldMkLst>
          <pc:docMk/>
          <pc:sldMk cId="131713009" sldId="2147472761"/>
        </pc:sldMkLst>
        <pc:spChg chg="mod">
          <ac:chgData name="Matt Edwards" userId="743beebf-6b9a-4058-bd48-8c152c2503f6" providerId="ADAL" clId="{CA3C3E19-C97F-4964-BC18-76325A524ACA}" dt="2025-05-05T11:59:27.307" v="152" actId="948"/>
          <ac:spMkLst>
            <pc:docMk/>
            <pc:sldMk cId="131713009" sldId="2147472761"/>
            <ac:spMk id="2" creationId="{B31AAE4C-6218-85C9-39E7-235A24FE980D}"/>
          </ac:spMkLst>
        </pc:spChg>
        <pc:spChg chg="mod">
          <ac:chgData name="Matt Edwards" userId="743beebf-6b9a-4058-bd48-8c152c2503f6" providerId="ADAL" clId="{CA3C3E19-C97F-4964-BC18-76325A524ACA}" dt="2025-05-01T11:55:42.115" v="13" actId="207"/>
          <ac:spMkLst>
            <pc:docMk/>
            <pc:sldMk cId="131713009" sldId="2147472761"/>
            <ac:spMk id="5" creationId="{E2388EDF-1FB5-B158-9E6D-CB8EFE127651}"/>
          </ac:spMkLst>
        </pc:spChg>
        <pc:spChg chg="mod">
          <ac:chgData name="Matt Edwards" userId="743beebf-6b9a-4058-bd48-8c152c2503f6" providerId="ADAL" clId="{CA3C3E19-C97F-4964-BC18-76325A524ACA}" dt="2025-05-01T11:55:46.755" v="14" actId="207"/>
          <ac:spMkLst>
            <pc:docMk/>
            <pc:sldMk cId="131713009" sldId="2147472761"/>
            <ac:spMk id="10" creationId="{D3D823CB-EF3F-F08F-171E-87E6BAED82C4}"/>
          </ac:spMkLst>
        </pc:spChg>
        <pc:spChg chg="mod">
          <ac:chgData name="Matt Edwards" userId="743beebf-6b9a-4058-bd48-8c152c2503f6" providerId="ADAL" clId="{CA3C3E19-C97F-4964-BC18-76325A524ACA}" dt="2025-05-01T11:55:51.592" v="15" actId="207"/>
          <ac:spMkLst>
            <pc:docMk/>
            <pc:sldMk cId="131713009" sldId="2147472761"/>
            <ac:spMk id="12" creationId="{8B46915B-CEB3-124D-F1FC-7107FFF1B11D}"/>
          </ac:spMkLst>
        </pc:spChg>
        <pc:graphicFrameChg chg="mod">
          <ac:chgData name="Matt Edwards" userId="743beebf-6b9a-4058-bd48-8c152c2503f6" providerId="ADAL" clId="{CA3C3E19-C97F-4964-BC18-76325A524ACA}" dt="2025-05-05T11:59:27.351" v="176"/>
          <ac:graphicFrameMkLst>
            <pc:docMk/>
            <pc:sldMk cId="131713009" sldId="2147472761"/>
            <ac:graphicFrameMk id="13" creationId="{64EC0CC9-6CE4-7FF3-9B28-5E04779ADA88}"/>
          </ac:graphicFrameMkLst>
        </pc:graphicFrameChg>
        <pc:graphicFrameChg chg="add mod">
          <ac:chgData name="Matt Edwards" userId="743beebf-6b9a-4058-bd48-8c152c2503f6" providerId="ADAL" clId="{CA3C3E19-C97F-4964-BC18-76325A524ACA}" dt="2025-05-01T11:53:45.200" v="9" actId="1076"/>
          <ac:graphicFrameMkLst>
            <pc:docMk/>
            <pc:sldMk cId="131713009" sldId="2147472761"/>
            <ac:graphicFrameMk id="52" creationId="{ADB2336B-297C-D213-E2F5-F580F23C934C}"/>
          </ac:graphicFrameMkLst>
        </pc:graphicFrameChg>
        <pc:graphicFrameChg chg="add mod">
          <ac:chgData name="Matt Edwards" userId="743beebf-6b9a-4058-bd48-8c152c2503f6" providerId="ADAL" clId="{CA3C3E19-C97F-4964-BC18-76325A524ACA}" dt="2025-05-01T11:55:31.979" v="12" actId="1076"/>
          <ac:graphicFrameMkLst>
            <pc:docMk/>
            <pc:sldMk cId="131713009" sldId="2147472761"/>
            <ac:graphicFrameMk id="53" creationId="{AA906C16-6EE6-47BF-F4C1-534FB6B921F9}"/>
          </ac:graphicFrameMkLst>
        </pc:graphicFrameChg>
      </pc:sldChg>
      <pc:sldChg chg="addSp delSp modSp add mod ord">
        <pc:chgData name="Matt Edwards" userId="743beebf-6b9a-4058-bd48-8c152c2503f6" providerId="ADAL" clId="{CA3C3E19-C97F-4964-BC18-76325A524ACA}" dt="2025-05-06T12:47:53.961" v="379"/>
        <pc:sldMkLst>
          <pc:docMk/>
          <pc:sldMk cId="4089870392" sldId="2147473194"/>
        </pc:sldMkLst>
        <pc:spChg chg="mod">
          <ac:chgData name="Matt Edwards" userId="743beebf-6b9a-4058-bd48-8c152c2503f6" providerId="ADAL" clId="{CA3C3E19-C97F-4964-BC18-76325A524ACA}" dt="2025-05-06T12:46:11.183" v="328" actId="948"/>
          <ac:spMkLst>
            <pc:docMk/>
            <pc:sldMk cId="4089870392" sldId="2147473194"/>
            <ac:spMk id="2" creationId="{D1561A97-DC33-B4FE-A991-B8C7AEDF1CBA}"/>
          </ac:spMkLst>
        </pc:spChg>
        <pc:spChg chg="add del mod modVis">
          <ac:chgData name="Matt Edwards" userId="743beebf-6b9a-4058-bd48-8c152c2503f6" providerId="ADAL" clId="{CA3C3E19-C97F-4964-BC18-76325A524ACA}" dt="2025-05-06T12:46:11.251" v="350"/>
          <ac:spMkLst>
            <pc:docMk/>
            <pc:sldMk cId="4089870392" sldId="2147473194"/>
            <ac:spMk id="3" creationId="{CA7C1CFD-8536-0968-ADB6-75663EF3E79D}"/>
          </ac:spMkLst>
        </pc:spChg>
        <pc:graphicFrameChg chg="mod">
          <ac:chgData name="Matt Edwards" userId="743beebf-6b9a-4058-bd48-8c152c2503f6" providerId="ADAL" clId="{CA3C3E19-C97F-4964-BC18-76325A524ACA}" dt="2025-05-06T12:46:11.253" v="352"/>
          <ac:graphicFrameMkLst>
            <pc:docMk/>
            <pc:sldMk cId="4089870392" sldId="2147473194"/>
            <ac:graphicFrameMk id="13" creationId="{5BA1AFD5-BC36-219F-9703-BE65E0D9B4E0}"/>
          </ac:graphicFrameMkLst>
        </pc:graphicFrameChg>
      </pc:sldChg>
      <pc:sldChg chg="addSp delSp modSp mod">
        <pc:chgData name="Matt Edwards" userId="743beebf-6b9a-4058-bd48-8c152c2503f6" providerId="ADAL" clId="{CA3C3E19-C97F-4964-BC18-76325A524ACA}" dt="2025-05-06T12:48:55.576" v="380" actId="478"/>
        <pc:sldMkLst>
          <pc:docMk/>
          <pc:sldMk cId="3617232066" sldId="2147473341"/>
        </pc:sldMkLst>
        <pc:spChg chg="add mod">
          <ac:chgData name="Matt Edwards" userId="743beebf-6b9a-4058-bd48-8c152c2503f6" providerId="ADAL" clId="{CA3C3E19-C97F-4964-BC18-76325A524ACA}" dt="2025-05-06T12:47:12.867" v="370" actId="1076"/>
          <ac:spMkLst>
            <pc:docMk/>
            <pc:sldMk cId="3617232066" sldId="2147473341"/>
            <ac:spMk id="5" creationId="{8432D050-B7C6-7E61-B9C1-F71EBC3EB941}"/>
          </ac:spMkLst>
        </pc:spChg>
        <pc:spChg chg="del">
          <ac:chgData name="Matt Edwards" userId="743beebf-6b9a-4058-bd48-8c152c2503f6" providerId="ADAL" clId="{CA3C3E19-C97F-4964-BC18-76325A524ACA}" dt="2025-05-06T12:48:55.576" v="380" actId="478"/>
          <ac:spMkLst>
            <pc:docMk/>
            <pc:sldMk cId="3617232066" sldId="2147473341"/>
            <ac:spMk id="6" creationId="{CD63E9F7-1F15-A66F-98A7-2B4BF2E61EDC}"/>
          </ac:spMkLst>
        </pc:spChg>
        <pc:spChg chg="mod">
          <ac:chgData name="Matt Edwards" userId="743beebf-6b9a-4058-bd48-8c152c2503f6" providerId="ADAL" clId="{CA3C3E19-C97F-4964-BC18-76325A524ACA}" dt="2025-05-06T12:46:17.529" v="353" actId="108"/>
          <ac:spMkLst>
            <pc:docMk/>
            <pc:sldMk cId="3617232066" sldId="2147473341"/>
            <ac:spMk id="11" creationId="{1E902C75-C72B-539C-069A-5C6BFEA71877}"/>
          </ac:spMkLst>
        </pc:spChg>
        <pc:spChg chg="del">
          <ac:chgData name="Matt Edwards" userId="743beebf-6b9a-4058-bd48-8c152c2503f6" providerId="ADAL" clId="{CA3C3E19-C97F-4964-BC18-76325A524ACA}" dt="2025-05-06T12:46:26.196" v="355" actId="478"/>
          <ac:spMkLst>
            <pc:docMk/>
            <pc:sldMk cId="3617232066" sldId="2147473341"/>
            <ac:spMk id="13" creationId="{FBEB83C9-E49A-9D3A-5328-8370BDF56CC9}"/>
          </ac:spMkLst>
        </pc:spChg>
        <pc:spChg chg="del">
          <ac:chgData name="Matt Edwards" userId="743beebf-6b9a-4058-bd48-8c152c2503f6" providerId="ADAL" clId="{CA3C3E19-C97F-4964-BC18-76325A524ACA}" dt="2025-05-06T12:45:33.590" v="322" actId="478"/>
          <ac:spMkLst>
            <pc:docMk/>
            <pc:sldMk cId="3617232066" sldId="2147473341"/>
            <ac:spMk id="17" creationId="{5F2A7A19-E239-78D8-088F-F49B526283D3}"/>
          </ac:spMkLst>
        </pc:spChg>
        <pc:spChg chg="add mod">
          <ac:chgData name="Matt Edwards" userId="743beebf-6b9a-4058-bd48-8c152c2503f6" providerId="ADAL" clId="{CA3C3E19-C97F-4964-BC18-76325A524ACA}" dt="2025-05-06T12:47:25.303" v="374" actId="1076"/>
          <ac:spMkLst>
            <pc:docMk/>
            <pc:sldMk cId="3617232066" sldId="2147473341"/>
            <ac:spMk id="18" creationId="{45C408A4-1FBE-3B03-9357-BF87D4A8AF28}"/>
          </ac:spMkLst>
        </pc:spChg>
        <pc:spChg chg="add del mod">
          <ac:chgData name="Matt Edwards" userId="743beebf-6b9a-4058-bd48-8c152c2503f6" providerId="ADAL" clId="{CA3C3E19-C97F-4964-BC18-76325A524ACA}" dt="2025-05-06T12:46:58.886" v="365" actId="478"/>
          <ac:spMkLst>
            <pc:docMk/>
            <pc:sldMk cId="3617232066" sldId="2147473341"/>
            <ac:spMk id="19" creationId="{808F2960-8FC8-E15A-761B-6D0502E8CC47}"/>
          </ac:spMkLst>
        </pc:spChg>
        <pc:spChg chg="del">
          <ac:chgData name="Matt Edwards" userId="743beebf-6b9a-4058-bd48-8c152c2503f6" providerId="ADAL" clId="{CA3C3E19-C97F-4964-BC18-76325A524ACA}" dt="2025-05-06T12:46:21.087" v="354" actId="478"/>
          <ac:spMkLst>
            <pc:docMk/>
            <pc:sldMk cId="3617232066" sldId="2147473341"/>
            <ac:spMk id="22" creationId="{6A305EAC-4B4C-8C35-F348-81AA7CD15614}"/>
          </ac:spMkLst>
        </pc:spChg>
        <pc:spChg chg="del">
          <ac:chgData name="Matt Edwards" userId="743beebf-6b9a-4058-bd48-8c152c2503f6" providerId="ADAL" clId="{CA3C3E19-C97F-4964-BC18-76325A524ACA}" dt="2025-05-06T12:45:27.583" v="319" actId="478"/>
          <ac:spMkLst>
            <pc:docMk/>
            <pc:sldMk cId="3617232066" sldId="2147473341"/>
            <ac:spMk id="32" creationId="{1A48C99B-985A-9D38-0672-04A643D6A54B}"/>
          </ac:spMkLst>
        </pc:spChg>
        <pc:spChg chg="del">
          <ac:chgData name="Matt Edwards" userId="743beebf-6b9a-4058-bd48-8c152c2503f6" providerId="ADAL" clId="{CA3C3E19-C97F-4964-BC18-76325A524ACA}" dt="2025-05-06T12:46:26.196" v="355" actId="478"/>
          <ac:spMkLst>
            <pc:docMk/>
            <pc:sldMk cId="3617232066" sldId="2147473341"/>
            <ac:spMk id="56" creationId="{69E36268-2368-2774-DE2C-4855524E9173}"/>
          </ac:spMkLst>
        </pc:spChg>
        <pc:spChg chg="del">
          <ac:chgData name="Matt Edwards" userId="743beebf-6b9a-4058-bd48-8c152c2503f6" providerId="ADAL" clId="{CA3C3E19-C97F-4964-BC18-76325A524ACA}" dt="2025-05-06T12:45:33.590" v="322" actId="478"/>
          <ac:spMkLst>
            <pc:docMk/>
            <pc:sldMk cId="3617232066" sldId="2147473341"/>
            <ac:spMk id="62" creationId="{91274DD3-B28F-396E-CD2C-C12169B90AE4}"/>
          </ac:spMkLst>
        </pc:spChg>
        <pc:spChg chg="del">
          <ac:chgData name="Matt Edwards" userId="743beebf-6b9a-4058-bd48-8c152c2503f6" providerId="ADAL" clId="{CA3C3E19-C97F-4964-BC18-76325A524ACA}" dt="2025-05-06T12:45:33.590" v="322" actId="478"/>
          <ac:spMkLst>
            <pc:docMk/>
            <pc:sldMk cId="3617232066" sldId="2147473341"/>
            <ac:spMk id="63" creationId="{F2407075-148E-CA16-24BC-B77BA0AC707F}"/>
          </ac:spMkLst>
        </pc:spChg>
        <pc:spChg chg="del">
          <ac:chgData name="Matt Edwards" userId="743beebf-6b9a-4058-bd48-8c152c2503f6" providerId="ADAL" clId="{CA3C3E19-C97F-4964-BC18-76325A524ACA}" dt="2025-05-06T12:45:33.590" v="322" actId="478"/>
          <ac:spMkLst>
            <pc:docMk/>
            <pc:sldMk cId="3617232066" sldId="2147473341"/>
            <ac:spMk id="64" creationId="{DA91056E-2F03-B392-5179-35D3D01DEA46}"/>
          </ac:spMkLst>
        </pc:spChg>
        <pc:spChg chg="del">
          <ac:chgData name="Matt Edwards" userId="743beebf-6b9a-4058-bd48-8c152c2503f6" providerId="ADAL" clId="{CA3C3E19-C97F-4964-BC18-76325A524ACA}" dt="2025-05-06T12:45:31.225" v="321" actId="478"/>
          <ac:spMkLst>
            <pc:docMk/>
            <pc:sldMk cId="3617232066" sldId="2147473341"/>
            <ac:spMk id="65" creationId="{0AC8C28D-1AAE-BE39-0FC9-CB21B515692A}"/>
          </ac:spMkLst>
        </pc:spChg>
        <pc:spChg chg="del">
          <ac:chgData name="Matt Edwards" userId="743beebf-6b9a-4058-bd48-8c152c2503f6" providerId="ADAL" clId="{CA3C3E19-C97F-4964-BC18-76325A524ACA}" dt="2025-05-06T12:45:33.590" v="322" actId="478"/>
          <ac:spMkLst>
            <pc:docMk/>
            <pc:sldMk cId="3617232066" sldId="2147473341"/>
            <ac:spMk id="66" creationId="{53A966DA-7D0A-A4CB-96A4-59C31D4E6A3C}"/>
          </ac:spMkLst>
        </pc:spChg>
        <pc:spChg chg="add mod">
          <ac:chgData name="Matt Edwards" userId="743beebf-6b9a-4058-bd48-8c152c2503f6" providerId="ADAL" clId="{CA3C3E19-C97F-4964-BC18-76325A524ACA}" dt="2025-05-06T12:47:05.781" v="367" actId="1076"/>
          <ac:spMkLst>
            <pc:docMk/>
            <pc:sldMk cId="3617232066" sldId="2147473341"/>
            <ac:spMk id="67" creationId="{808F2960-8FC8-E15A-761B-6D0502E8CC47}"/>
          </ac:spMkLst>
        </pc:spChg>
        <pc:spChg chg="add mod">
          <ac:chgData name="Matt Edwards" userId="743beebf-6b9a-4058-bd48-8c152c2503f6" providerId="ADAL" clId="{CA3C3E19-C97F-4964-BC18-76325A524ACA}" dt="2025-05-06T12:47:05.781" v="367" actId="1076"/>
          <ac:spMkLst>
            <pc:docMk/>
            <pc:sldMk cId="3617232066" sldId="2147473341"/>
            <ac:spMk id="68" creationId="{A3DCE099-9137-F01C-9ECF-F2E86C7C2509}"/>
          </ac:spMkLst>
        </pc:spChg>
        <pc:grpChg chg="add mod">
          <ac:chgData name="Matt Edwards" userId="743beebf-6b9a-4058-bd48-8c152c2503f6" providerId="ADAL" clId="{CA3C3E19-C97F-4964-BC18-76325A524ACA}" dt="2025-05-06T12:47:30.892" v="375" actId="164"/>
          <ac:grpSpMkLst>
            <pc:docMk/>
            <pc:sldMk cId="3617232066" sldId="2147473341"/>
            <ac:grpSpMk id="2" creationId="{63FB16B6-5E97-C64B-8561-CF3501B4EA2E}"/>
          </ac:grpSpMkLst>
        </pc:grpChg>
        <pc:grpChg chg="add mod">
          <ac:chgData name="Matt Edwards" userId="743beebf-6b9a-4058-bd48-8c152c2503f6" providerId="ADAL" clId="{CA3C3E19-C97F-4964-BC18-76325A524ACA}" dt="2025-05-06T12:47:30.892" v="375" actId="164"/>
          <ac:grpSpMkLst>
            <pc:docMk/>
            <pc:sldMk cId="3617232066" sldId="2147473341"/>
            <ac:grpSpMk id="3" creationId="{D4A5938F-FC2C-A2BE-F6EC-9224AF47C463}"/>
          </ac:grpSpMkLst>
        </pc:grpChg>
        <pc:grpChg chg="del">
          <ac:chgData name="Matt Edwards" userId="743beebf-6b9a-4058-bd48-8c152c2503f6" providerId="ADAL" clId="{CA3C3E19-C97F-4964-BC18-76325A524ACA}" dt="2025-05-06T12:45:24.811" v="318" actId="478"/>
          <ac:grpSpMkLst>
            <pc:docMk/>
            <pc:sldMk cId="3617232066" sldId="2147473341"/>
            <ac:grpSpMk id="4" creationId="{4252E584-5E27-1B0C-8144-8DF0474208C5}"/>
          </ac:grpSpMkLst>
        </pc:grpChg>
        <pc:grpChg chg="del">
          <ac:chgData name="Matt Edwards" userId="743beebf-6b9a-4058-bd48-8c152c2503f6" providerId="ADAL" clId="{CA3C3E19-C97F-4964-BC18-76325A524ACA}" dt="2025-05-06T12:46:26.196" v="355" actId="478"/>
          <ac:grpSpMkLst>
            <pc:docMk/>
            <pc:sldMk cId="3617232066" sldId="2147473341"/>
            <ac:grpSpMk id="43" creationId="{6584C15E-F561-B7F3-7488-FE671ECF95EF}"/>
          </ac:grpSpMkLst>
        </pc:grpChg>
        <pc:grpChg chg="del">
          <ac:chgData name="Matt Edwards" userId="743beebf-6b9a-4058-bd48-8c152c2503f6" providerId="ADAL" clId="{CA3C3E19-C97F-4964-BC18-76325A524ACA}" dt="2025-05-06T12:46:26.196" v="355" actId="478"/>
          <ac:grpSpMkLst>
            <pc:docMk/>
            <pc:sldMk cId="3617232066" sldId="2147473341"/>
            <ac:grpSpMk id="46" creationId="{E303FBD9-E650-C49B-3701-756CF7954247}"/>
          </ac:grpSpMkLst>
        </pc:grpChg>
        <pc:grpChg chg="del">
          <ac:chgData name="Matt Edwards" userId="743beebf-6b9a-4058-bd48-8c152c2503f6" providerId="ADAL" clId="{CA3C3E19-C97F-4964-BC18-76325A524ACA}" dt="2025-05-06T12:46:28.753" v="356" actId="478"/>
          <ac:grpSpMkLst>
            <pc:docMk/>
            <pc:sldMk cId="3617232066" sldId="2147473341"/>
            <ac:grpSpMk id="49" creationId="{F733FA3E-235D-A6FA-0DB9-2A92F449B800}"/>
          </ac:grpSpMkLst>
        </pc:grpChg>
        <pc:grpChg chg="add mod">
          <ac:chgData name="Matt Edwards" userId="743beebf-6b9a-4058-bd48-8c152c2503f6" providerId="ADAL" clId="{CA3C3E19-C97F-4964-BC18-76325A524ACA}" dt="2025-05-06T12:47:35.534" v="377" actId="1076"/>
          <ac:grpSpMkLst>
            <pc:docMk/>
            <pc:sldMk cId="3617232066" sldId="2147473341"/>
            <ac:grpSpMk id="69" creationId="{22D34A3A-6FE2-CA96-F614-9BACBC045ABB}"/>
          </ac:grpSpMkLst>
        </pc:grpChg>
        <pc:graphicFrameChg chg="del">
          <ac:chgData name="Matt Edwards" userId="743beebf-6b9a-4058-bd48-8c152c2503f6" providerId="ADAL" clId="{CA3C3E19-C97F-4964-BC18-76325A524ACA}" dt="2025-05-06T12:45:29.518" v="320" actId="478"/>
          <ac:graphicFrameMkLst>
            <pc:docMk/>
            <pc:sldMk cId="3617232066" sldId="2147473341"/>
            <ac:graphicFrameMk id="61" creationId="{629B2DDD-736E-37A5-68F1-102743F60E01}"/>
          </ac:graphicFrameMkLst>
        </pc:graphicFrameChg>
        <pc:picChg chg="add mod">
          <ac:chgData name="Matt Edwards" userId="743beebf-6b9a-4058-bd48-8c152c2503f6" providerId="ADAL" clId="{CA3C3E19-C97F-4964-BC18-76325A524ACA}" dt="2025-05-06T12:45:41.898" v="323"/>
          <ac:picMkLst>
            <pc:docMk/>
            <pc:sldMk cId="3617232066" sldId="2147473341"/>
            <ac:picMk id="9" creationId="{D3B79D7E-4E41-CB45-4999-C1F4542EFDD2}"/>
          </ac:picMkLst>
        </pc:picChg>
        <pc:picChg chg="add mod">
          <ac:chgData name="Matt Edwards" userId="743beebf-6b9a-4058-bd48-8c152c2503f6" providerId="ADAL" clId="{CA3C3E19-C97F-4964-BC18-76325A524ACA}" dt="2025-05-06T12:45:41.898" v="323"/>
          <ac:picMkLst>
            <pc:docMk/>
            <pc:sldMk cId="3617232066" sldId="2147473341"/>
            <ac:picMk id="16" creationId="{87C17395-21C2-A1D5-424B-4EB8CEE72A7D}"/>
          </ac:picMkLst>
        </pc:picChg>
        <pc:cxnChg chg="del">
          <ac:chgData name="Matt Edwards" userId="743beebf-6b9a-4058-bd48-8c152c2503f6" providerId="ADAL" clId="{CA3C3E19-C97F-4964-BC18-76325A524ACA}" dt="2025-05-06T12:46:26.196" v="355" actId="478"/>
          <ac:cxnSpMkLst>
            <pc:docMk/>
            <pc:sldMk cId="3617232066" sldId="2147473341"/>
            <ac:cxnSpMk id="12" creationId="{A3C9EF40-B556-69FC-2AC2-B698A0E42F04}"/>
          </ac:cxnSpMkLst>
        </pc:cxnChg>
        <pc:cxnChg chg="del">
          <ac:chgData name="Matt Edwards" userId="743beebf-6b9a-4058-bd48-8c152c2503f6" providerId="ADAL" clId="{CA3C3E19-C97F-4964-BC18-76325A524ACA}" dt="2025-05-06T12:46:26.196" v="355" actId="478"/>
          <ac:cxnSpMkLst>
            <pc:docMk/>
            <pc:sldMk cId="3617232066" sldId="2147473341"/>
            <ac:cxnSpMk id="14" creationId="{50EAA2E2-EEAF-DDF9-CF71-36638FE4CBFD}"/>
          </ac:cxnSpMkLst>
        </pc:cxnChg>
        <pc:cxnChg chg="del">
          <ac:chgData name="Matt Edwards" userId="743beebf-6b9a-4058-bd48-8c152c2503f6" providerId="ADAL" clId="{CA3C3E19-C97F-4964-BC18-76325A524ACA}" dt="2025-05-06T12:46:26.196" v="355" actId="478"/>
          <ac:cxnSpMkLst>
            <pc:docMk/>
            <pc:sldMk cId="3617232066" sldId="2147473341"/>
            <ac:cxnSpMk id="20" creationId="{4684AF7D-09B6-52B5-C6CB-0E5B822E8627}"/>
          </ac:cxnSpMkLst>
        </pc:cxnChg>
        <pc:cxnChg chg="del">
          <ac:chgData name="Matt Edwards" userId="743beebf-6b9a-4058-bd48-8c152c2503f6" providerId="ADAL" clId="{CA3C3E19-C97F-4964-BC18-76325A524ACA}" dt="2025-05-06T12:46:26.196" v="355" actId="478"/>
          <ac:cxnSpMkLst>
            <pc:docMk/>
            <pc:sldMk cId="3617232066" sldId="2147473341"/>
            <ac:cxnSpMk id="54" creationId="{9FA7236D-5845-C413-465F-5B46C48C6153}"/>
          </ac:cxnSpMkLst>
        </pc:cxnChg>
        <pc:cxnChg chg="del">
          <ac:chgData name="Matt Edwards" userId="743beebf-6b9a-4058-bd48-8c152c2503f6" providerId="ADAL" clId="{CA3C3E19-C97F-4964-BC18-76325A524ACA}" dt="2025-05-06T12:46:26.196" v="355" actId="478"/>
          <ac:cxnSpMkLst>
            <pc:docMk/>
            <pc:sldMk cId="3617232066" sldId="2147473341"/>
            <ac:cxnSpMk id="55" creationId="{BC7AC155-31B5-0DAA-EB74-8724DC5F28A9}"/>
          </ac:cxnSpMkLst>
        </pc:cxnChg>
      </pc:sldChg>
      <pc:sldChg chg="addSp delSp modSp mod modCm">
        <pc:chgData name="Matt Edwards" userId="743beebf-6b9a-4058-bd48-8c152c2503f6" providerId="ADAL" clId="{CA3C3E19-C97F-4964-BC18-76325A524ACA}" dt="2025-05-05T11:59:38.163" v="272"/>
        <pc:sldMkLst>
          <pc:docMk/>
          <pc:sldMk cId="2586034402" sldId="2147473504"/>
        </pc:sldMkLst>
        <pc:spChg chg="mod">
          <ac:chgData name="Matt Edwards" userId="743beebf-6b9a-4058-bd48-8c152c2503f6" providerId="ADAL" clId="{CA3C3E19-C97F-4964-BC18-76325A524ACA}" dt="2025-05-05T11:59:38.126" v="248" actId="948"/>
          <ac:spMkLst>
            <pc:docMk/>
            <pc:sldMk cId="2586034402" sldId="2147473504"/>
            <ac:spMk id="2" creationId="{FF470B5A-2D5D-5E63-E1BF-C9F2104E4E29}"/>
          </ac:spMkLst>
        </pc:spChg>
        <pc:graphicFrameChg chg="mod">
          <ac:chgData name="Matt Edwards" userId="743beebf-6b9a-4058-bd48-8c152c2503f6" providerId="ADAL" clId="{CA3C3E19-C97F-4964-BC18-76325A524ACA}" dt="2025-05-05T11:59:38.163" v="272"/>
          <ac:graphicFrameMkLst>
            <pc:docMk/>
            <pc:sldMk cId="2586034402" sldId="2147473504"/>
            <ac:graphicFrameMk id="4" creationId="{523096C3-8675-40F4-D68C-ADB6070A68C3}"/>
          </ac:graphicFrameMkLst>
        </pc:graphicFrame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Matt Edwards" userId="743beebf-6b9a-4058-bd48-8c152c2503f6" providerId="ADAL" clId="{CA3C3E19-C97F-4964-BC18-76325A524ACA}" dt="2025-05-05T11:59:37.610" v="247" actId="20577"/>
              <pc2:cmMkLst xmlns:pc2="http://schemas.microsoft.com/office/powerpoint/2019/9/main/command">
                <pc:docMk/>
                <pc:sldMk cId="2586034402" sldId="2147473504"/>
                <pc2:cmMk id="{F45C1ECB-D6D3-4A21-9573-CADBA6862BF8}"/>
              </pc2:cmMkLst>
            </pc226:cmChg>
          </p:ext>
        </pc:extLst>
      </pc:sldChg>
      <pc:sldChg chg="modSp mod modCm">
        <pc:chgData name="Matt Edwards" userId="743beebf-6b9a-4058-bd48-8c152c2503f6" providerId="ADAL" clId="{CA3C3E19-C97F-4964-BC18-76325A524ACA}" dt="2025-05-05T12:00:50.845" v="287" actId="20577"/>
        <pc:sldMkLst>
          <pc:docMk/>
          <pc:sldMk cId="835583557" sldId="2147473505"/>
        </pc:sldMkLst>
        <pc:spChg chg="mod">
          <ac:chgData name="Matt Edwards" userId="743beebf-6b9a-4058-bd48-8c152c2503f6" providerId="ADAL" clId="{CA3C3E19-C97F-4964-BC18-76325A524ACA}" dt="2025-05-05T12:00:50.845" v="287" actId="20577"/>
          <ac:spMkLst>
            <pc:docMk/>
            <pc:sldMk cId="835583557" sldId="2147473505"/>
            <ac:spMk id="3" creationId="{9CCF5A02-EA9D-23FF-48C1-71A58933B1B3}"/>
          </ac:spMkLst>
        </pc:spChg>
        <pc:spChg chg="mod">
          <ac:chgData name="Matt Edwards" userId="743beebf-6b9a-4058-bd48-8c152c2503f6" providerId="ADAL" clId="{CA3C3E19-C97F-4964-BC18-76325A524ACA}" dt="2025-05-05T12:00:01.739" v="283" actId="6549"/>
          <ac:spMkLst>
            <pc:docMk/>
            <pc:sldMk cId="835583557" sldId="2147473505"/>
            <ac:spMk id="4" creationId="{6DC56175-3E0D-A290-C11E-4E3D8EA61496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Matt Edwards" userId="743beebf-6b9a-4058-bd48-8c152c2503f6" providerId="ADAL" clId="{CA3C3E19-C97F-4964-BC18-76325A524ACA}" dt="2025-05-05T12:00:01.739" v="283" actId="6549"/>
              <pc2:cmMkLst xmlns:pc2="http://schemas.microsoft.com/office/powerpoint/2019/9/main/command">
                <pc:docMk/>
                <pc:sldMk cId="835583557" sldId="2147473505"/>
                <pc2:cmMk id="{2C8A8627-3AA4-49A0-8134-68C77AE497ED}"/>
              </pc2:cmMkLst>
            </pc226:cmChg>
            <pc226:cmChg xmlns:pc226="http://schemas.microsoft.com/office/powerpoint/2022/06/main/command" chg="mod">
              <pc226:chgData name="Matt Edwards" userId="743beebf-6b9a-4058-bd48-8c152c2503f6" providerId="ADAL" clId="{CA3C3E19-C97F-4964-BC18-76325A524ACA}" dt="2025-05-05T12:00:50.845" v="287" actId="20577"/>
              <pc2:cmMkLst xmlns:pc2="http://schemas.microsoft.com/office/powerpoint/2019/9/main/command">
                <pc:docMk/>
                <pc:sldMk cId="835583557" sldId="2147473505"/>
                <pc2:cmMk id="{EB3D9050-3D35-4182-B85C-91B62AAA7A2F}"/>
              </pc2:cmMkLst>
            </pc226:cmChg>
            <pc226:cmChg xmlns:pc226="http://schemas.microsoft.com/office/powerpoint/2022/06/main/command" chg="mod">
              <pc226:chgData name="Matt Edwards" userId="743beebf-6b9a-4058-bd48-8c152c2503f6" providerId="ADAL" clId="{CA3C3E19-C97F-4964-BC18-76325A524ACA}" dt="2025-05-05T12:00:50.845" v="287" actId="20577"/>
              <pc2:cmMkLst xmlns:pc2="http://schemas.microsoft.com/office/powerpoint/2019/9/main/command">
                <pc:docMk/>
                <pc:sldMk cId="835583557" sldId="2147473505"/>
                <pc2:cmMk id="{52B7BF65-658B-41EB-BB83-67769B85A677}"/>
              </pc2:cmMkLst>
            </pc226:cmChg>
          </p:ext>
        </pc:extLst>
      </pc:sldChg>
      <pc:sldChg chg="modSp mod modCm">
        <pc:chgData name="Matt Edwards" userId="743beebf-6b9a-4058-bd48-8c152c2503f6" providerId="ADAL" clId="{CA3C3E19-C97F-4964-BC18-76325A524ACA}" dt="2025-05-05T12:01:23.086" v="316" actId="20577"/>
        <pc:sldMkLst>
          <pc:docMk/>
          <pc:sldMk cId="757225403" sldId="2147473506"/>
        </pc:sldMkLst>
        <pc:spChg chg="mod">
          <ac:chgData name="Matt Edwards" userId="743beebf-6b9a-4058-bd48-8c152c2503f6" providerId="ADAL" clId="{CA3C3E19-C97F-4964-BC18-76325A524ACA}" dt="2025-05-05T12:01:23.086" v="316" actId="20577"/>
          <ac:spMkLst>
            <pc:docMk/>
            <pc:sldMk cId="757225403" sldId="2147473506"/>
            <ac:spMk id="3" creationId="{AE2CB28A-053C-3F19-E678-7314FAC81813}"/>
          </ac:spMkLst>
        </pc:spChg>
        <pc:spChg chg="mod">
          <ac:chgData name="Matt Edwards" userId="743beebf-6b9a-4058-bd48-8c152c2503f6" providerId="ADAL" clId="{CA3C3E19-C97F-4964-BC18-76325A524ACA}" dt="2025-05-05T11:59:52.177" v="277" actId="20577"/>
          <ac:spMkLst>
            <pc:docMk/>
            <pc:sldMk cId="757225403" sldId="2147473506"/>
            <ac:spMk id="34" creationId="{2551C109-D2EE-EB21-98D5-6D8C0EDB9DC9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Matt Edwards" userId="743beebf-6b9a-4058-bd48-8c152c2503f6" providerId="ADAL" clId="{CA3C3E19-C97F-4964-BC18-76325A524ACA}" dt="2025-05-05T12:01:23.086" v="316" actId="20577"/>
              <pc2:cmMkLst xmlns:pc2="http://schemas.microsoft.com/office/powerpoint/2019/9/main/command">
                <pc:docMk/>
                <pc:sldMk cId="757225403" sldId="2147473506"/>
                <pc2:cmMk id="{8A3294AB-8733-4BA8-9E69-F3D042702807}"/>
              </pc2:cmMkLst>
            </pc226:cmChg>
          </p:ext>
        </pc:extLst>
      </pc:sldChg>
      <pc:sldChg chg="ord modNotesTx">
        <pc:chgData name="Matt Edwards" userId="743beebf-6b9a-4058-bd48-8c152c2503f6" providerId="ADAL" clId="{CA3C3E19-C97F-4964-BC18-76325A524ACA}" dt="2025-05-01T12:06:31.030" v="19" actId="20577"/>
        <pc:sldMkLst>
          <pc:docMk/>
          <pc:sldMk cId="211770327" sldId="2147473509"/>
        </pc:sldMkLst>
      </pc:sldChg>
      <pc:sldChg chg="del">
        <pc:chgData name="Matt Edwards" userId="743beebf-6b9a-4058-bd48-8c152c2503f6" providerId="ADAL" clId="{CA3C3E19-C97F-4964-BC18-76325A524ACA}" dt="2025-05-01T12:06:12.148" v="18" actId="47"/>
        <pc:sldMkLst>
          <pc:docMk/>
          <pc:sldMk cId="4042692367" sldId="2147473510"/>
        </pc:sldMkLst>
      </pc:sldChg>
      <pc:sldChg chg="modSp mod modCm">
        <pc:chgData name="Matt Edwards" userId="743beebf-6b9a-4058-bd48-8c152c2503f6" providerId="ADAL" clId="{CA3C3E19-C97F-4964-BC18-76325A524ACA}" dt="2025-05-05T11:59:00.138" v="42" actId="20577"/>
        <pc:sldMkLst>
          <pc:docMk/>
          <pc:sldMk cId="3684965866" sldId="2147473511"/>
        </pc:sldMkLst>
        <pc:spChg chg="mod">
          <ac:chgData name="Matt Edwards" userId="743beebf-6b9a-4058-bd48-8c152c2503f6" providerId="ADAL" clId="{CA3C3E19-C97F-4964-BC18-76325A524ACA}" dt="2025-05-05T11:59:00.138" v="42" actId="20577"/>
          <ac:spMkLst>
            <pc:docMk/>
            <pc:sldMk cId="3684965866" sldId="2147473511"/>
            <ac:spMk id="3" creationId="{7CA9FCAE-4DB7-AD4B-FB08-F03A25917BCE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Matt Edwards" userId="743beebf-6b9a-4058-bd48-8c152c2503f6" providerId="ADAL" clId="{CA3C3E19-C97F-4964-BC18-76325A524ACA}" dt="2025-05-05T11:59:00.138" v="42" actId="20577"/>
              <pc2:cmMkLst xmlns:pc2="http://schemas.microsoft.com/office/powerpoint/2019/9/main/command">
                <pc:docMk/>
                <pc:sldMk cId="3684965866" sldId="2147473511"/>
                <pc2:cmMk id="{17A5A9ED-0CC0-4840-833A-E0120B5E6954}"/>
              </pc2:cmMkLst>
            </pc226:cmChg>
          </p:ext>
        </pc:extLst>
      </pc:sldChg>
      <pc:sldChg chg="addSp modSp mod modCm">
        <pc:chgData name="Matt Edwards" userId="743beebf-6b9a-4058-bd48-8c152c2503f6" providerId="ADAL" clId="{CA3C3E19-C97F-4964-BC18-76325A524ACA}" dt="2025-05-06T12:55:47.789" v="408" actId="20577"/>
        <pc:sldMkLst>
          <pc:docMk/>
          <pc:sldMk cId="2840292460" sldId="2147473512"/>
        </pc:sldMkLst>
        <pc:spChg chg="add mod">
          <ac:chgData name="Matt Edwards" userId="743beebf-6b9a-4058-bd48-8c152c2503f6" providerId="ADAL" clId="{CA3C3E19-C97F-4964-BC18-76325A524ACA}" dt="2025-05-06T12:55:47.789" v="408" actId="20577"/>
          <ac:spMkLst>
            <pc:docMk/>
            <pc:sldMk cId="2840292460" sldId="2147473512"/>
            <ac:spMk id="8" creationId="{84D4B0ED-4217-C692-F946-CFF79B3CF3C2}"/>
          </ac:spMkLst>
        </pc:spChg>
        <pc:spChg chg="mod">
          <ac:chgData name="Matt Edwards" userId="743beebf-6b9a-4058-bd48-8c152c2503f6" providerId="ADAL" clId="{CA3C3E19-C97F-4964-BC18-76325A524ACA}" dt="2025-05-05T11:59:10.016" v="43" actId="20577"/>
          <ac:spMkLst>
            <pc:docMk/>
            <pc:sldMk cId="2840292460" sldId="2147473512"/>
            <ac:spMk id="28" creationId="{9DCE3C7F-21B9-6204-5CF9-DF5767AF31D9}"/>
          </ac:spMkLst>
        </pc:spChg>
        <pc:graphicFrameChg chg="mod">
          <ac:chgData name="Matt Edwards" userId="743beebf-6b9a-4058-bd48-8c152c2503f6" providerId="ADAL" clId="{CA3C3E19-C97F-4964-BC18-76325A524ACA}" dt="2025-05-06T12:54:19.506" v="388" actId="1076"/>
          <ac:graphicFrameMkLst>
            <pc:docMk/>
            <pc:sldMk cId="2840292460" sldId="2147473512"/>
            <ac:graphicFrameMk id="4" creationId="{BAA3B01D-219D-DCD9-E242-7F907C4F3D7E}"/>
          </ac:graphicFrameMkLst>
        </pc:graphicFrame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Matt Edwards" userId="743beebf-6b9a-4058-bd48-8c152c2503f6" providerId="ADAL" clId="{CA3C3E19-C97F-4964-BC18-76325A524ACA}" dt="2025-05-05T11:59:10.016" v="43" actId="20577"/>
              <pc2:cmMkLst xmlns:pc2="http://schemas.microsoft.com/office/powerpoint/2019/9/main/command">
                <pc:docMk/>
                <pc:sldMk cId="2840292460" sldId="2147473512"/>
                <pc2:cmMk id="{AC8C9594-8D09-41AC-91D7-001D33D216A0}"/>
              </pc2:cmMkLst>
            </pc226:cmChg>
          </p:ext>
        </pc:extLst>
      </pc:sldChg>
      <pc:sldChg chg="add del">
        <pc:chgData name="Matt Edwards" userId="743beebf-6b9a-4058-bd48-8c152c2503f6" providerId="ADAL" clId="{CA3C3E19-C97F-4964-BC18-76325A524ACA}" dt="2025-05-06T12:54:05.600" v="382"/>
        <pc:sldMkLst>
          <pc:docMk/>
          <pc:sldMk cId="247296083" sldId="2147473514"/>
        </pc:sldMkLst>
      </pc:sldChg>
    </pc:docChg>
  </pc:docChgLst>
  <pc:docChgLst>
    <pc:chgData name="Matt Edwards" userId="743beebf-6b9a-4058-bd48-8c152c2503f6" providerId="ADAL" clId="{26899684-1807-4AAE-BAC7-5A8B45366024}"/>
    <pc:docChg chg="undo custSel addSld delSld modSld sldOrd">
      <pc:chgData name="Matt Edwards" userId="743beebf-6b9a-4058-bd48-8c152c2503f6" providerId="ADAL" clId="{26899684-1807-4AAE-BAC7-5A8B45366024}" dt="2025-03-11T13:31:47.852" v="462"/>
      <pc:docMkLst>
        <pc:docMk/>
      </pc:docMkLst>
      <pc:sldChg chg="addSp delSp modSp mod">
        <pc:chgData name="Matt Edwards" userId="743beebf-6b9a-4058-bd48-8c152c2503f6" providerId="ADAL" clId="{26899684-1807-4AAE-BAC7-5A8B45366024}" dt="2025-03-11T12:50:01.404" v="53"/>
        <pc:sldMkLst>
          <pc:docMk/>
          <pc:sldMk cId="2177841419" sldId="256"/>
        </pc:sldMkLst>
      </pc:sldChg>
      <pc:sldChg chg="modSp new mod">
        <pc:chgData name="Matt Edwards" userId="743beebf-6b9a-4058-bd48-8c152c2503f6" providerId="ADAL" clId="{26899684-1807-4AAE-BAC7-5A8B45366024}" dt="2025-03-11T12:50:39.646" v="57" actId="13926"/>
        <pc:sldMkLst>
          <pc:docMk/>
          <pc:sldMk cId="2107417057" sldId="257"/>
        </pc:sldMkLst>
      </pc:sldChg>
      <pc:sldChg chg="addSp delSp modSp new mod">
        <pc:chgData name="Matt Edwards" userId="743beebf-6b9a-4058-bd48-8c152c2503f6" providerId="ADAL" clId="{26899684-1807-4AAE-BAC7-5A8B45366024}" dt="2025-03-11T13:10:18.894" v="350"/>
        <pc:sldMkLst>
          <pc:docMk/>
          <pc:sldMk cId="2175346294" sldId="258"/>
        </pc:sldMkLst>
      </pc:sldChg>
      <pc:sldChg chg="addSp delSp modSp new mod">
        <pc:chgData name="Matt Edwards" userId="743beebf-6b9a-4058-bd48-8c152c2503f6" providerId="ADAL" clId="{26899684-1807-4AAE-BAC7-5A8B45366024}" dt="2025-03-11T13:13:06.501" v="458"/>
        <pc:sldMkLst>
          <pc:docMk/>
          <pc:sldMk cId="1022211843" sldId="259"/>
        </pc:sldMkLst>
      </pc:sldChg>
      <pc:sldChg chg="new del">
        <pc:chgData name="Matt Edwards" userId="743beebf-6b9a-4058-bd48-8c152c2503f6" providerId="ADAL" clId="{26899684-1807-4AAE-BAC7-5A8B45366024}" dt="2025-03-11T13:12:54.722" v="375" actId="47"/>
        <pc:sldMkLst>
          <pc:docMk/>
          <pc:sldMk cId="4253263656" sldId="260"/>
        </pc:sldMkLst>
      </pc:sldChg>
      <pc:sldChg chg="del">
        <pc:chgData name="Matt Edwards" userId="743beebf-6b9a-4058-bd48-8c152c2503f6" providerId="ADAL" clId="{26899684-1807-4AAE-BAC7-5A8B45366024}" dt="2025-03-11T12:50:04.810" v="54" actId="47"/>
        <pc:sldMkLst>
          <pc:docMk/>
          <pc:sldMk cId="2335212839" sldId="2147469678"/>
        </pc:sldMkLst>
      </pc:sldChg>
      <pc:sldChg chg="del">
        <pc:chgData name="Matt Edwards" userId="743beebf-6b9a-4058-bd48-8c152c2503f6" providerId="ADAL" clId="{26899684-1807-4AAE-BAC7-5A8B45366024}" dt="2025-03-11T12:50:04.810" v="54" actId="47"/>
        <pc:sldMkLst>
          <pc:docMk/>
          <pc:sldMk cId="1198169269" sldId="2147473604"/>
        </pc:sldMkLst>
      </pc:sldChg>
      <pc:sldChg chg="del">
        <pc:chgData name="Matt Edwards" userId="743beebf-6b9a-4058-bd48-8c152c2503f6" providerId="ADAL" clId="{26899684-1807-4AAE-BAC7-5A8B45366024}" dt="2025-03-11T12:50:04.810" v="54" actId="47"/>
        <pc:sldMkLst>
          <pc:docMk/>
          <pc:sldMk cId="1211583575" sldId="2147473605"/>
        </pc:sldMkLst>
      </pc:sldChg>
      <pc:sldChg chg="add ord">
        <pc:chgData name="Matt Edwards" userId="743beebf-6b9a-4058-bd48-8c152c2503f6" providerId="ADAL" clId="{26899684-1807-4AAE-BAC7-5A8B45366024}" dt="2025-03-11T13:12:33.733" v="373"/>
        <pc:sldMkLst>
          <pc:docMk/>
          <pc:sldMk cId="2526814596" sldId="2147473738"/>
        </pc:sldMkLst>
      </pc:sldChg>
      <pc:sldChg chg="add del">
        <pc:chgData name="Matt Edwards" userId="743beebf-6b9a-4058-bd48-8c152c2503f6" providerId="ADAL" clId="{26899684-1807-4AAE-BAC7-5A8B45366024}" dt="2025-03-11T13:31:36.904" v="459" actId="47"/>
        <pc:sldMkLst>
          <pc:docMk/>
          <pc:sldMk cId="119759418" sldId="2147473739"/>
        </pc:sldMkLst>
      </pc:sldChg>
      <pc:sldChg chg="add del">
        <pc:chgData name="Matt Edwards" userId="743beebf-6b9a-4058-bd48-8c152c2503f6" providerId="ADAL" clId="{26899684-1807-4AAE-BAC7-5A8B45366024}" dt="2025-03-11T13:31:42.696" v="461" actId="47"/>
        <pc:sldMkLst>
          <pc:docMk/>
          <pc:sldMk cId="867247095" sldId="2147473739"/>
        </pc:sldMkLst>
      </pc:sldChg>
      <pc:sldChg chg="add">
        <pc:chgData name="Matt Edwards" userId="743beebf-6b9a-4058-bd48-8c152c2503f6" providerId="ADAL" clId="{26899684-1807-4AAE-BAC7-5A8B45366024}" dt="2025-03-11T13:31:47.852" v="462"/>
        <pc:sldMkLst>
          <pc:docMk/>
          <pc:sldMk cId="1199674136" sldId="2147473767"/>
        </pc:sldMkLst>
      </pc:sldChg>
    </pc:docChg>
  </pc:docChgLst>
  <pc:docChgLst>
    <pc:chgData name="Laura Richman" userId="d760db1b-3784-4349-bfde-7c8f91093429" providerId="ADAL" clId="{FB5CD382-8161-4F16-828A-4DB1FC91D29D}"/>
    <pc:docChg chg="modSld">
      <pc:chgData name="Laura Richman" userId="d760db1b-3784-4349-bfde-7c8f91093429" providerId="ADAL" clId="{FB5CD382-8161-4F16-828A-4DB1FC91D29D}" dt="2025-05-04T23:29:57.755" v="3" actId="5793"/>
      <pc:docMkLst>
        <pc:docMk/>
      </pc:docMkLst>
      <pc:sldChg chg="modSp mod">
        <pc:chgData name="Laura Richman" userId="d760db1b-3784-4349-bfde-7c8f91093429" providerId="ADAL" clId="{FB5CD382-8161-4F16-828A-4DB1FC91D29D}" dt="2025-05-04T23:29:57.755" v="3" actId="5793"/>
        <pc:sldMkLst>
          <pc:docMk/>
          <pc:sldMk cId="757225403" sldId="2147473506"/>
        </pc:sldMkLst>
        <pc:spChg chg="mod">
          <ac:chgData name="Laura Richman" userId="d760db1b-3784-4349-bfde-7c8f91093429" providerId="ADAL" clId="{FB5CD382-8161-4F16-828A-4DB1FC91D29D}" dt="2025-05-04T23:29:57.755" v="3" actId="5793"/>
          <ac:spMkLst>
            <pc:docMk/>
            <pc:sldMk cId="757225403" sldId="2147473506"/>
            <ac:spMk id="3" creationId="{AE2CB28A-053C-3F19-E678-7314FAC81813}"/>
          </ac:spMkLst>
        </pc:spChg>
      </pc:sldChg>
      <pc:sldChg chg="modSp mod">
        <pc:chgData name="Laura Richman" userId="d760db1b-3784-4349-bfde-7c8f91093429" providerId="ADAL" clId="{FB5CD382-8161-4F16-828A-4DB1FC91D29D}" dt="2025-05-04T22:40:37.926" v="1" actId="20577"/>
        <pc:sldMkLst>
          <pc:docMk/>
          <pc:sldMk cId="67748238" sldId="2147473513"/>
        </pc:sldMkLst>
        <pc:spChg chg="mod">
          <ac:chgData name="Laura Richman" userId="d760db1b-3784-4349-bfde-7c8f91093429" providerId="ADAL" clId="{FB5CD382-8161-4F16-828A-4DB1FC91D29D}" dt="2025-05-04T22:40:37.926" v="1" actId="20577"/>
          <ac:spMkLst>
            <pc:docMk/>
            <pc:sldMk cId="67748238" sldId="2147473513"/>
            <ac:spMk id="2" creationId="{C4233BD3-83E8-2552-6D57-6C58176D1059}"/>
          </ac:spMkLst>
        </pc:spChg>
      </pc:sldChg>
    </pc:docChg>
  </pc:docChgLst>
  <pc:docChgLst>
    <pc:chgData name="Matt Edwards" userId="S::medwards@affiniatx.com::743beebf-6b9a-4058-bd48-8c152c2503f6" providerId="AD" clId="Web-{850AB389-19EF-15FE-B0F2-78F20A39B5DA}"/>
    <pc:docChg chg="modSld sldOrd">
      <pc:chgData name="Matt Edwards" userId="S::medwards@affiniatx.com::743beebf-6b9a-4058-bd48-8c152c2503f6" providerId="AD" clId="Web-{850AB389-19EF-15FE-B0F2-78F20A39B5DA}" dt="2025-05-08T14:14:03.191" v="65" actId="14100"/>
      <pc:docMkLst>
        <pc:docMk/>
      </pc:docMkLst>
      <pc:sldChg chg="modSp">
        <pc:chgData name="Matt Edwards" userId="S::medwards@affiniatx.com::743beebf-6b9a-4058-bd48-8c152c2503f6" providerId="AD" clId="Web-{850AB389-19EF-15FE-B0F2-78F20A39B5DA}" dt="2025-05-08T14:12:30.863" v="64"/>
        <pc:sldMkLst>
          <pc:docMk/>
          <pc:sldMk cId="1035940203" sldId="2147471437"/>
        </pc:sldMkLst>
        <pc:graphicFrameChg chg="mod modGraphic">
          <ac:chgData name="Matt Edwards" userId="S::medwards@affiniatx.com::743beebf-6b9a-4058-bd48-8c152c2503f6" providerId="AD" clId="Web-{850AB389-19EF-15FE-B0F2-78F20A39B5DA}" dt="2025-05-08T14:12:30.863" v="64"/>
          <ac:graphicFrameMkLst>
            <pc:docMk/>
            <pc:sldMk cId="1035940203" sldId="2147471437"/>
            <ac:graphicFrameMk id="8" creationId="{AA12AE82-1BF7-8D43-1464-AF1D1EB9C3A3}"/>
          </ac:graphicFrameMkLst>
        </pc:graphicFrameChg>
      </pc:sldChg>
      <pc:sldChg chg="ord">
        <pc:chgData name="Matt Edwards" userId="S::medwards@affiniatx.com::743beebf-6b9a-4058-bd48-8c152c2503f6" providerId="AD" clId="Web-{850AB389-19EF-15FE-B0F2-78F20A39B5DA}" dt="2025-05-08T14:09:03.660" v="2"/>
        <pc:sldMkLst>
          <pc:docMk/>
          <pc:sldMk cId="4089870392" sldId="2147473194"/>
        </pc:sldMkLst>
      </pc:sldChg>
      <pc:sldChg chg="ord">
        <pc:chgData name="Matt Edwards" userId="S::medwards@affiniatx.com::743beebf-6b9a-4058-bd48-8c152c2503f6" providerId="AD" clId="Web-{850AB389-19EF-15FE-B0F2-78F20A39B5DA}" dt="2025-05-08T14:08:18.550" v="1"/>
        <pc:sldMkLst>
          <pc:docMk/>
          <pc:sldMk cId="3617232066" sldId="2147473341"/>
        </pc:sldMkLst>
      </pc:sldChg>
      <pc:sldChg chg="modSp">
        <pc:chgData name="Matt Edwards" userId="S::medwards@affiniatx.com::743beebf-6b9a-4058-bd48-8c152c2503f6" providerId="AD" clId="Web-{850AB389-19EF-15FE-B0F2-78F20A39B5DA}" dt="2025-05-08T14:14:03.191" v="65" actId="14100"/>
        <pc:sldMkLst>
          <pc:docMk/>
          <pc:sldMk cId="757225403" sldId="2147473506"/>
        </pc:sldMkLst>
        <pc:spChg chg="mod">
          <ac:chgData name="Matt Edwards" userId="S::medwards@affiniatx.com::743beebf-6b9a-4058-bd48-8c152c2503f6" providerId="AD" clId="Web-{850AB389-19EF-15FE-B0F2-78F20A39B5DA}" dt="2025-05-08T14:14:03.191" v="65" actId="14100"/>
          <ac:spMkLst>
            <pc:docMk/>
            <pc:sldMk cId="757225403" sldId="2147473506"/>
            <ac:spMk id="3" creationId="{AE2CB28A-053C-3F19-E678-7314FAC81813}"/>
          </ac:spMkLst>
        </pc:spChg>
      </pc:sldChg>
    </pc:docChg>
  </pc:docChgLst>
  <pc:docChgLst>
    <pc:chgData name="Matt Edwards" userId="S::medwards@affiniatx.com::743beebf-6b9a-4058-bd48-8c152c2503f6" providerId="AD" clId="Web-{26B4C10B-A128-C2A8-F8C8-D9FB38CCF69B}"/>
    <pc:docChg chg="delSld">
      <pc:chgData name="Matt Edwards" userId="S::medwards@affiniatx.com::743beebf-6b9a-4058-bd48-8c152c2503f6" providerId="AD" clId="Web-{26B4C10B-A128-C2A8-F8C8-D9FB38CCF69B}" dt="2025-05-09T12:06:57.457" v="0"/>
      <pc:docMkLst>
        <pc:docMk/>
      </pc:docMkLst>
      <pc:sldChg chg="del">
        <pc:chgData name="Matt Edwards" userId="S::medwards@affiniatx.com::743beebf-6b9a-4058-bd48-8c152c2503f6" providerId="AD" clId="Web-{26B4C10B-A128-C2A8-F8C8-D9FB38CCF69B}" dt="2025-05-09T12:06:57.457" v="0"/>
        <pc:sldMkLst>
          <pc:docMk/>
          <pc:sldMk cId="211770327" sldId="2147473509"/>
        </pc:sldMkLst>
      </pc:sldChg>
    </pc:docChg>
  </pc:docChgLst>
  <pc:docChgLst>
    <pc:chgData name="Shahrzad Parker" userId="S::sparker@affiniatx.com::2e6993cb-0e19-4962-b0e4-afd4673d9e12" providerId="AD" clId="Web-{B672ADC3-4E4E-ED49-B39F-C1A8B1640558}"/>
    <pc:docChg chg="mod addSld delSld modSld addMainMaster">
      <pc:chgData name="Shahrzad Parker" userId="S::sparker@affiniatx.com::2e6993cb-0e19-4962-b0e4-afd4673d9e12" providerId="AD" clId="Web-{B672ADC3-4E4E-ED49-B39F-C1A8B1640558}" dt="2025-04-15T17:44:01.053" v="265"/>
      <pc:docMkLst>
        <pc:docMk/>
      </pc:docMkLst>
      <pc:sldChg chg="addSp delSp modSp">
        <pc:chgData name="Shahrzad Parker" userId="S::sparker@affiniatx.com::2e6993cb-0e19-4962-b0e4-afd4673d9e12" providerId="AD" clId="Web-{B672ADC3-4E4E-ED49-B39F-C1A8B1640558}" dt="2025-04-15T17:43:26.709" v="264" actId="1076"/>
        <pc:sldMkLst>
          <pc:docMk/>
          <pc:sldMk cId="1198885967" sldId="2147473508"/>
        </pc:sldMkLst>
        <pc:spChg chg="add mod">
          <ac:chgData name="Shahrzad Parker" userId="S::sparker@affiniatx.com::2e6993cb-0e19-4962-b0e4-afd4673d9e12" providerId="AD" clId="Web-{B672ADC3-4E4E-ED49-B39F-C1A8B1640558}" dt="2025-04-15T17:22:44.320" v="33" actId="1076"/>
          <ac:spMkLst>
            <pc:docMk/>
            <pc:sldMk cId="1198885967" sldId="2147473508"/>
            <ac:spMk id="14" creationId="{7AC01F2A-45E4-AADF-8F3C-6AEA03BEBCB1}"/>
          </ac:spMkLst>
        </pc:spChg>
        <pc:spChg chg="add mod">
          <ac:chgData name="Shahrzad Parker" userId="S::sparker@affiniatx.com::2e6993cb-0e19-4962-b0e4-afd4673d9e12" providerId="AD" clId="Web-{B672ADC3-4E4E-ED49-B39F-C1A8B1640558}" dt="2025-04-15T17:26:40.601" v="88" actId="1076"/>
          <ac:spMkLst>
            <pc:docMk/>
            <pc:sldMk cId="1198885967" sldId="2147473508"/>
            <ac:spMk id="20" creationId="{6020C9C3-AFE1-EAA9-0B8E-F3F85AB74E25}"/>
          </ac:spMkLst>
        </pc:spChg>
        <pc:spChg chg="add mod">
          <ac:chgData name="Shahrzad Parker" userId="S::sparker@affiniatx.com::2e6993cb-0e19-4962-b0e4-afd4673d9e12" providerId="AD" clId="Web-{B672ADC3-4E4E-ED49-B39F-C1A8B1640558}" dt="2025-04-15T17:30:03.554" v="104" actId="1076"/>
          <ac:spMkLst>
            <pc:docMk/>
            <pc:sldMk cId="1198885967" sldId="2147473508"/>
            <ac:spMk id="21" creationId="{46820DAE-0394-5AC9-1489-84004C51C1A2}"/>
          </ac:spMkLst>
        </pc:spChg>
        <pc:spChg chg="add mod">
          <ac:chgData name="Shahrzad Parker" userId="S::sparker@affiniatx.com::2e6993cb-0e19-4962-b0e4-afd4673d9e12" providerId="AD" clId="Web-{B672ADC3-4E4E-ED49-B39F-C1A8B1640558}" dt="2025-04-15T17:30:13.882" v="108" actId="20577"/>
          <ac:spMkLst>
            <pc:docMk/>
            <pc:sldMk cId="1198885967" sldId="2147473508"/>
            <ac:spMk id="22" creationId="{7DBE345B-DD58-87C8-0898-8C80CB89AF3A}"/>
          </ac:spMkLst>
        </pc:spChg>
        <pc:spChg chg="add mod">
          <ac:chgData name="Shahrzad Parker" userId="S::sparker@affiniatx.com::2e6993cb-0e19-4962-b0e4-afd4673d9e12" providerId="AD" clId="Web-{B672ADC3-4E4E-ED49-B39F-C1A8B1640558}" dt="2025-04-15T17:31:40.554" v="131" actId="1076"/>
          <ac:spMkLst>
            <pc:docMk/>
            <pc:sldMk cId="1198885967" sldId="2147473508"/>
            <ac:spMk id="26" creationId="{9FA62DFF-0686-6B59-C9D5-22F3D013CCA2}"/>
          </ac:spMkLst>
        </pc:spChg>
        <pc:spChg chg="add mod">
          <ac:chgData name="Shahrzad Parker" userId="S::sparker@affiniatx.com::2e6993cb-0e19-4962-b0e4-afd4673d9e12" providerId="AD" clId="Web-{B672ADC3-4E4E-ED49-B39F-C1A8B1640558}" dt="2025-04-15T17:32:09.132" v="147" actId="20577"/>
          <ac:spMkLst>
            <pc:docMk/>
            <pc:sldMk cId="1198885967" sldId="2147473508"/>
            <ac:spMk id="27" creationId="{21AF16AF-390B-3007-015F-1C08D50F2103}"/>
          </ac:spMkLst>
        </pc:spChg>
        <pc:spChg chg="add mod">
          <ac:chgData name="Shahrzad Parker" userId="S::sparker@affiniatx.com::2e6993cb-0e19-4962-b0e4-afd4673d9e12" providerId="AD" clId="Web-{B672ADC3-4E4E-ED49-B39F-C1A8B1640558}" dt="2025-04-15T17:33:17.288" v="173" actId="20577"/>
          <ac:spMkLst>
            <pc:docMk/>
            <pc:sldMk cId="1198885967" sldId="2147473508"/>
            <ac:spMk id="30" creationId="{494C31E8-420E-37EC-31E5-56B0CD3748F2}"/>
          </ac:spMkLst>
        </pc:spChg>
        <pc:spChg chg="add mod">
          <ac:chgData name="Shahrzad Parker" userId="S::sparker@affiniatx.com::2e6993cb-0e19-4962-b0e4-afd4673d9e12" providerId="AD" clId="Web-{B672ADC3-4E4E-ED49-B39F-C1A8B1640558}" dt="2025-04-15T17:34:55.835" v="210" actId="1076"/>
          <ac:spMkLst>
            <pc:docMk/>
            <pc:sldMk cId="1198885967" sldId="2147473508"/>
            <ac:spMk id="34" creationId="{F1F89EE5-594F-6839-7829-08B2EC048921}"/>
          </ac:spMkLst>
        </pc:spChg>
        <pc:spChg chg="add mod">
          <ac:chgData name="Shahrzad Parker" userId="S::sparker@affiniatx.com::2e6993cb-0e19-4962-b0e4-afd4673d9e12" providerId="AD" clId="Web-{B672ADC3-4E4E-ED49-B39F-C1A8B1640558}" dt="2025-04-15T17:39:05.303" v="252" actId="1076"/>
          <ac:spMkLst>
            <pc:docMk/>
            <pc:sldMk cId="1198885967" sldId="2147473508"/>
            <ac:spMk id="36" creationId="{3698E865-7E0F-5588-DC3E-A41C87FDC993}"/>
          </ac:spMkLst>
        </pc:spChg>
        <pc:spChg chg="add mod">
          <ac:chgData name="Shahrzad Parker" userId="S::sparker@affiniatx.com::2e6993cb-0e19-4962-b0e4-afd4673d9e12" providerId="AD" clId="Web-{B672ADC3-4E4E-ED49-B39F-C1A8B1640558}" dt="2025-04-15T17:43:26.709" v="264" actId="1076"/>
          <ac:spMkLst>
            <pc:docMk/>
            <pc:sldMk cId="1198885967" sldId="2147473508"/>
            <ac:spMk id="44" creationId="{DF1A19E4-F852-5096-B3A2-F9F862045971}"/>
          </ac:spMkLst>
        </pc:spChg>
        <pc:picChg chg="add mod modCrop">
          <ac:chgData name="Shahrzad Parker" userId="S::sparker@affiniatx.com::2e6993cb-0e19-4962-b0e4-afd4673d9e12" providerId="AD" clId="Web-{B672ADC3-4E4E-ED49-B39F-C1A8B1640558}" dt="2025-04-15T17:23:09.164" v="40" actId="1076"/>
          <ac:picMkLst>
            <pc:docMk/>
            <pc:sldMk cId="1198885967" sldId="2147473508"/>
            <ac:picMk id="8" creationId="{294D22CD-2DED-C556-4FBC-B3385A8AD88C}"/>
          </ac:picMkLst>
        </pc:picChg>
        <pc:picChg chg="add mod">
          <ac:chgData name="Shahrzad Parker" userId="S::sparker@affiniatx.com::2e6993cb-0e19-4962-b0e4-afd4673d9e12" providerId="AD" clId="Web-{B672ADC3-4E4E-ED49-B39F-C1A8B1640558}" dt="2025-04-15T17:21:29.398" v="19" actId="1076"/>
          <ac:picMkLst>
            <pc:docMk/>
            <pc:sldMk cId="1198885967" sldId="2147473508"/>
            <ac:picMk id="10" creationId="{0B56468D-ABC5-C14B-7C7F-A764993D33D7}"/>
          </ac:picMkLst>
        </pc:picChg>
        <pc:picChg chg="add mod modCrop">
          <ac:chgData name="Shahrzad Parker" userId="S::sparker@affiniatx.com::2e6993cb-0e19-4962-b0e4-afd4673d9e12" providerId="AD" clId="Web-{B672ADC3-4E4E-ED49-B39F-C1A8B1640558}" dt="2025-04-15T17:22:58.273" v="37" actId="1076"/>
          <ac:picMkLst>
            <pc:docMk/>
            <pc:sldMk cId="1198885967" sldId="2147473508"/>
            <ac:picMk id="11" creationId="{D770BB43-1693-1726-8E64-FB4F983CDFB0}"/>
          </ac:picMkLst>
        </pc:picChg>
        <pc:picChg chg="add mod">
          <ac:chgData name="Shahrzad Parker" userId="S::sparker@affiniatx.com::2e6993cb-0e19-4962-b0e4-afd4673d9e12" providerId="AD" clId="Web-{B672ADC3-4E4E-ED49-B39F-C1A8B1640558}" dt="2025-04-15T17:23:28.773" v="42" actId="1076"/>
          <ac:picMkLst>
            <pc:docMk/>
            <pc:sldMk cId="1198885967" sldId="2147473508"/>
            <ac:picMk id="15" creationId="{B161DBEA-81C5-DF21-7A8A-DE080247522B}"/>
          </ac:picMkLst>
        </pc:picChg>
        <pc:picChg chg="add mod">
          <ac:chgData name="Shahrzad Parker" userId="S::sparker@affiniatx.com::2e6993cb-0e19-4962-b0e4-afd4673d9e12" providerId="AD" clId="Web-{B672ADC3-4E4E-ED49-B39F-C1A8B1640558}" dt="2025-04-15T17:23:36.914" v="44" actId="1076"/>
          <ac:picMkLst>
            <pc:docMk/>
            <pc:sldMk cId="1198885967" sldId="2147473508"/>
            <ac:picMk id="16" creationId="{5C2AB1B7-3E2B-A59C-C48D-91B1BEE430A7}"/>
          </ac:picMkLst>
        </pc:picChg>
        <pc:picChg chg="add mod">
          <ac:chgData name="Shahrzad Parker" userId="S::sparker@affiniatx.com::2e6993cb-0e19-4962-b0e4-afd4673d9e12" providerId="AD" clId="Web-{B672ADC3-4E4E-ED49-B39F-C1A8B1640558}" dt="2025-04-15T17:30:21.194" v="109" actId="14100"/>
          <ac:picMkLst>
            <pc:docMk/>
            <pc:sldMk cId="1198885967" sldId="2147473508"/>
            <ac:picMk id="18" creationId="{3CFBFBE5-7C9A-ACEC-890A-946DB4F36522}"/>
          </ac:picMkLst>
        </pc:picChg>
        <pc:picChg chg="add mod">
          <ac:chgData name="Shahrzad Parker" userId="S::sparker@affiniatx.com::2e6993cb-0e19-4962-b0e4-afd4673d9e12" providerId="AD" clId="Web-{B672ADC3-4E4E-ED49-B39F-C1A8B1640558}" dt="2025-04-15T17:30:32.710" v="112" actId="1076"/>
          <ac:picMkLst>
            <pc:docMk/>
            <pc:sldMk cId="1198885967" sldId="2147473508"/>
            <ac:picMk id="23" creationId="{DA1FD3EB-967E-768E-AFBD-2C572E94948A}"/>
          </ac:picMkLst>
        </pc:picChg>
        <pc:picChg chg="add mod">
          <ac:chgData name="Shahrzad Parker" userId="S::sparker@affiniatx.com::2e6993cb-0e19-4962-b0e4-afd4673d9e12" providerId="AD" clId="Web-{B672ADC3-4E4E-ED49-B39F-C1A8B1640558}" dt="2025-04-15T17:30:52.226" v="114" actId="1076"/>
          <ac:picMkLst>
            <pc:docMk/>
            <pc:sldMk cId="1198885967" sldId="2147473508"/>
            <ac:picMk id="24" creationId="{93D41541-7474-3F8D-D5B4-1ABCB166BDD9}"/>
          </ac:picMkLst>
        </pc:picChg>
        <pc:picChg chg="add mod">
          <ac:chgData name="Shahrzad Parker" userId="S::sparker@affiniatx.com::2e6993cb-0e19-4962-b0e4-afd4673d9e12" providerId="AD" clId="Web-{B672ADC3-4E4E-ED49-B39F-C1A8B1640558}" dt="2025-04-15T17:31:16.522" v="118" actId="1076"/>
          <ac:picMkLst>
            <pc:docMk/>
            <pc:sldMk cId="1198885967" sldId="2147473508"/>
            <ac:picMk id="25" creationId="{214CDF6A-32BC-C314-6D08-B97FDC77E894}"/>
          </ac:picMkLst>
        </pc:picChg>
        <pc:picChg chg="add mod">
          <ac:chgData name="Shahrzad Parker" userId="S::sparker@affiniatx.com::2e6993cb-0e19-4962-b0e4-afd4673d9e12" providerId="AD" clId="Web-{B672ADC3-4E4E-ED49-B39F-C1A8B1640558}" dt="2025-04-15T17:32:52.475" v="156" actId="1076"/>
          <ac:picMkLst>
            <pc:docMk/>
            <pc:sldMk cId="1198885967" sldId="2147473508"/>
            <ac:picMk id="29" creationId="{F929F62E-83B3-676A-CB94-D52229F08B7B}"/>
          </ac:picMkLst>
        </pc:picChg>
        <pc:picChg chg="add mod">
          <ac:chgData name="Shahrzad Parker" userId="S::sparker@affiniatx.com::2e6993cb-0e19-4962-b0e4-afd4673d9e12" providerId="AD" clId="Web-{B672ADC3-4E4E-ED49-B39F-C1A8B1640558}" dt="2025-04-15T17:34:51.913" v="209" actId="1076"/>
          <ac:picMkLst>
            <pc:docMk/>
            <pc:sldMk cId="1198885967" sldId="2147473508"/>
            <ac:picMk id="31" creationId="{E5A92D26-A8CF-D681-00A0-C98738B8E980}"/>
          </ac:picMkLst>
        </pc:picChg>
        <pc:picChg chg="add mod">
          <ac:chgData name="Shahrzad Parker" userId="S::sparker@affiniatx.com::2e6993cb-0e19-4962-b0e4-afd4673d9e12" providerId="AD" clId="Web-{B672ADC3-4E4E-ED49-B39F-C1A8B1640558}" dt="2025-04-15T17:34:49.600" v="208" actId="1076"/>
          <ac:picMkLst>
            <pc:docMk/>
            <pc:sldMk cId="1198885967" sldId="2147473508"/>
            <ac:picMk id="32" creationId="{383EBCEC-1270-385B-9505-6EF2C7D90EBA}"/>
          </ac:picMkLst>
        </pc:picChg>
        <pc:picChg chg="add mod">
          <ac:chgData name="Shahrzad Parker" userId="S::sparker@affiniatx.com::2e6993cb-0e19-4962-b0e4-afd4673d9e12" providerId="AD" clId="Web-{B672ADC3-4E4E-ED49-B39F-C1A8B1640558}" dt="2025-04-15T17:34:48.210" v="207" actId="1076"/>
          <ac:picMkLst>
            <pc:docMk/>
            <pc:sldMk cId="1198885967" sldId="2147473508"/>
            <ac:picMk id="33" creationId="{0A23191E-065F-8B73-6AD8-5B398F97292C}"/>
          </ac:picMkLst>
        </pc:picChg>
        <pc:picChg chg="add mod">
          <ac:chgData name="Shahrzad Parker" userId="S::sparker@affiniatx.com::2e6993cb-0e19-4962-b0e4-afd4673d9e12" providerId="AD" clId="Web-{B672ADC3-4E4E-ED49-B39F-C1A8B1640558}" dt="2025-04-15T17:34:46.178" v="206" actId="14100"/>
          <ac:picMkLst>
            <pc:docMk/>
            <pc:sldMk cId="1198885967" sldId="2147473508"/>
            <ac:picMk id="35" creationId="{7EBE9851-359C-7E1C-2B69-0C073C87DF52}"/>
          </ac:picMkLst>
        </pc:picChg>
        <pc:picChg chg="add mod">
          <ac:chgData name="Shahrzad Parker" userId="S::sparker@affiniatx.com::2e6993cb-0e19-4962-b0e4-afd4673d9e12" providerId="AD" clId="Web-{B672ADC3-4E4E-ED49-B39F-C1A8B1640558}" dt="2025-04-15T17:36:22.116" v="231" actId="1076"/>
          <ac:picMkLst>
            <pc:docMk/>
            <pc:sldMk cId="1198885967" sldId="2147473508"/>
            <ac:picMk id="38" creationId="{F5ADDAD3-A628-F37A-E8ED-1855CA5C7F67}"/>
          </ac:picMkLst>
        </pc:picChg>
        <pc:picChg chg="add mod">
          <ac:chgData name="Shahrzad Parker" userId="S::sparker@affiniatx.com::2e6993cb-0e19-4962-b0e4-afd4673d9e12" providerId="AD" clId="Web-{B672ADC3-4E4E-ED49-B39F-C1A8B1640558}" dt="2025-04-15T17:39:00.522" v="251" actId="1076"/>
          <ac:picMkLst>
            <pc:docMk/>
            <pc:sldMk cId="1198885967" sldId="2147473508"/>
            <ac:picMk id="39" creationId="{8493811A-0799-C0B1-097C-C1123091BDF5}"/>
          </ac:picMkLst>
        </pc:picChg>
        <pc:picChg chg="add mod">
          <ac:chgData name="Shahrzad Parker" userId="S::sparker@affiniatx.com::2e6993cb-0e19-4962-b0e4-afd4673d9e12" providerId="AD" clId="Web-{B672ADC3-4E4E-ED49-B39F-C1A8B1640558}" dt="2025-04-15T17:39:05.334" v="253" actId="1076"/>
          <ac:picMkLst>
            <pc:docMk/>
            <pc:sldMk cId="1198885967" sldId="2147473508"/>
            <ac:picMk id="40" creationId="{7926E946-8FE4-2329-3BAA-4C4CF4B13664}"/>
          </ac:picMkLst>
        </pc:picChg>
      </pc:sldChg>
      <pc:sldChg chg="add del">
        <pc:chgData name="Shahrzad Parker" userId="S::sparker@affiniatx.com::2e6993cb-0e19-4962-b0e4-afd4673d9e12" providerId="AD" clId="Web-{B672ADC3-4E4E-ED49-B39F-C1A8B1640558}" dt="2025-04-15T17:44:01.053" v="265"/>
        <pc:sldMkLst>
          <pc:docMk/>
          <pc:sldMk cId="601895018" sldId="2147473512"/>
        </pc:sldMkLst>
      </pc:sldChg>
      <pc:sldMasterChg chg="add addSldLayout">
        <pc:chgData name="Shahrzad Parker" userId="S::sparker@affiniatx.com::2e6993cb-0e19-4962-b0e4-afd4673d9e12" providerId="AD" clId="Web-{B672ADC3-4E4E-ED49-B39F-C1A8B1640558}" dt="2025-04-15T17:41:58.115" v="255"/>
        <pc:sldMasterMkLst>
          <pc:docMk/>
          <pc:sldMasterMk cId="26173702" sldId="2147483728"/>
        </pc:sldMasterMkLst>
        <pc:sldLayoutChg chg="add">
          <pc:chgData name="Shahrzad Parker" userId="S::sparker@affiniatx.com::2e6993cb-0e19-4962-b0e4-afd4673d9e12" providerId="AD" clId="Web-{B672ADC3-4E4E-ED49-B39F-C1A8B1640558}" dt="2025-04-15T17:41:58.115" v="255"/>
          <pc:sldLayoutMkLst>
            <pc:docMk/>
            <pc:sldMasterMk cId="26173702" sldId="2147483728"/>
            <pc:sldLayoutMk cId="4206073099" sldId="2147483729"/>
          </pc:sldLayoutMkLst>
        </pc:sldLayoutChg>
        <pc:sldLayoutChg chg="add">
          <pc:chgData name="Shahrzad Parker" userId="S::sparker@affiniatx.com::2e6993cb-0e19-4962-b0e4-afd4673d9e12" providerId="AD" clId="Web-{B672ADC3-4E4E-ED49-B39F-C1A8B1640558}" dt="2025-04-15T17:41:58.115" v="255"/>
          <pc:sldLayoutMkLst>
            <pc:docMk/>
            <pc:sldMasterMk cId="26173702" sldId="2147483728"/>
            <pc:sldLayoutMk cId="152807886" sldId="2147483730"/>
          </pc:sldLayoutMkLst>
        </pc:sldLayoutChg>
        <pc:sldLayoutChg chg="add">
          <pc:chgData name="Shahrzad Parker" userId="S::sparker@affiniatx.com::2e6993cb-0e19-4962-b0e4-afd4673d9e12" providerId="AD" clId="Web-{B672ADC3-4E4E-ED49-B39F-C1A8B1640558}" dt="2025-04-15T17:41:58.115" v="255"/>
          <pc:sldLayoutMkLst>
            <pc:docMk/>
            <pc:sldMasterMk cId="26173702" sldId="2147483728"/>
            <pc:sldLayoutMk cId="1242271834" sldId="2147483731"/>
          </pc:sldLayoutMkLst>
        </pc:sldLayoutChg>
        <pc:sldLayoutChg chg="add">
          <pc:chgData name="Shahrzad Parker" userId="S::sparker@affiniatx.com::2e6993cb-0e19-4962-b0e4-afd4673d9e12" providerId="AD" clId="Web-{B672ADC3-4E4E-ED49-B39F-C1A8B1640558}" dt="2025-04-15T17:41:58.115" v="255"/>
          <pc:sldLayoutMkLst>
            <pc:docMk/>
            <pc:sldMasterMk cId="26173702" sldId="2147483728"/>
            <pc:sldLayoutMk cId="2119468408" sldId="2147483732"/>
          </pc:sldLayoutMkLst>
        </pc:sldLayoutChg>
        <pc:sldLayoutChg chg="add">
          <pc:chgData name="Shahrzad Parker" userId="S::sparker@affiniatx.com::2e6993cb-0e19-4962-b0e4-afd4673d9e12" providerId="AD" clId="Web-{B672ADC3-4E4E-ED49-B39F-C1A8B1640558}" dt="2025-04-15T17:41:58.115" v="255"/>
          <pc:sldLayoutMkLst>
            <pc:docMk/>
            <pc:sldMasterMk cId="26173702" sldId="2147483728"/>
            <pc:sldLayoutMk cId="2499990936" sldId="2147483733"/>
          </pc:sldLayoutMkLst>
        </pc:sldLayoutChg>
        <pc:sldLayoutChg chg="add">
          <pc:chgData name="Shahrzad Parker" userId="S::sparker@affiniatx.com::2e6993cb-0e19-4962-b0e4-afd4673d9e12" providerId="AD" clId="Web-{B672ADC3-4E4E-ED49-B39F-C1A8B1640558}" dt="2025-04-15T17:41:58.115" v="255"/>
          <pc:sldLayoutMkLst>
            <pc:docMk/>
            <pc:sldMasterMk cId="26173702" sldId="2147483728"/>
            <pc:sldLayoutMk cId="2445442292" sldId="2147483734"/>
          </pc:sldLayoutMkLst>
        </pc:sldLayoutChg>
        <pc:sldLayoutChg chg="add">
          <pc:chgData name="Shahrzad Parker" userId="S::sparker@affiniatx.com::2e6993cb-0e19-4962-b0e4-afd4673d9e12" providerId="AD" clId="Web-{B672ADC3-4E4E-ED49-B39F-C1A8B1640558}" dt="2025-04-15T17:41:58.115" v="255"/>
          <pc:sldLayoutMkLst>
            <pc:docMk/>
            <pc:sldMasterMk cId="26173702" sldId="2147483728"/>
            <pc:sldLayoutMk cId="102241172" sldId="2147483735"/>
          </pc:sldLayoutMkLst>
        </pc:sldLayoutChg>
        <pc:sldLayoutChg chg="add">
          <pc:chgData name="Shahrzad Parker" userId="S::sparker@affiniatx.com::2e6993cb-0e19-4962-b0e4-afd4673d9e12" providerId="AD" clId="Web-{B672ADC3-4E4E-ED49-B39F-C1A8B1640558}" dt="2025-04-15T17:41:58.115" v="255"/>
          <pc:sldLayoutMkLst>
            <pc:docMk/>
            <pc:sldMasterMk cId="26173702" sldId="2147483728"/>
            <pc:sldLayoutMk cId="4029878740" sldId="2147483736"/>
          </pc:sldLayoutMkLst>
        </pc:sldLayoutChg>
        <pc:sldLayoutChg chg="add">
          <pc:chgData name="Shahrzad Parker" userId="S::sparker@affiniatx.com::2e6993cb-0e19-4962-b0e4-afd4673d9e12" providerId="AD" clId="Web-{B672ADC3-4E4E-ED49-B39F-C1A8B1640558}" dt="2025-04-15T17:41:58.115" v="255"/>
          <pc:sldLayoutMkLst>
            <pc:docMk/>
            <pc:sldMasterMk cId="26173702" sldId="2147483728"/>
            <pc:sldLayoutMk cId="2919720622" sldId="2147483737"/>
          </pc:sldLayoutMkLst>
        </pc:sldLayoutChg>
        <pc:sldLayoutChg chg="add">
          <pc:chgData name="Shahrzad Parker" userId="S::sparker@affiniatx.com::2e6993cb-0e19-4962-b0e4-afd4673d9e12" providerId="AD" clId="Web-{B672ADC3-4E4E-ED49-B39F-C1A8B1640558}" dt="2025-04-15T17:41:58.115" v="255"/>
          <pc:sldLayoutMkLst>
            <pc:docMk/>
            <pc:sldMasterMk cId="26173702" sldId="2147483728"/>
            <pc:sldLayoutMk cId="4089810426" sldId="2147483738"/>
          </pc:sldLayoutMkLst>
        </pc:sldLayoutChg>
        <pc:sldLayoutChg chg="add">
          <pc:chgData name="Shahrzad Parker" userId="S::sparker@affiniatx.com::2e6993cb-0e19-4962-b0e4-afd4673d9e12" providerId="AD" clId="Web-{B672ADC3-4E4E-ED49-B39F-C1A8B1640558}" dt="2025-04-15T17:41:58.115" v="255"/>
          <pc:sldLayoutMkLst>
            <pc:docMk/>
            <pc:sldMasterMk cId="26173702" sldId="2147483728"/>
            <pc:sldLayoutMk cId="4229946884" sldId="2147483739"/>
          </pc:sldLayoutMkLst>
        </pc:sldLayoutChg>
        <pc:sldLayoutChg chg="add">
          <pc:chgData name="Shahrzad Parker" userId="S::sparker@affiniatx.com::2e6993cb-0e19-4962-b0e4-afd4673d9e12" providerId="AD" clId="Web-{B672ADC3-4E4E-ED49-B39F-C1A8B1640558}" dt="2025-04-15T17:41:58.115" v="255"/>
          <pc:sldLayoutMkLst>
            <pc:docMk/>
            <pc:sldMasterMk cId="26173702" sldId="2147483728"/>
            <pc:sldLayoutMk cId="3562466120" sldId="2147483740"/>
          </pc:sldLayoutMkLst>
        </pc:sldLayoutChg>
        <pc:sldLayoutChg chg="add">
          <pc:chgData name="Shahrzad Parker" userId="S::sparker@affiniatx.com::2e6993cb-0e19-4962-b0e4-afd4673d9e12" providerId="AD" clId="Web-{B672ADC3-4E4E-ED49-B39F-C1A8B1640558}" dt="2025-04-15T17:41:58.115" v="255"/>
          <pc:sldLayoutMkLst>
            <pc:docMk/>
            <pc:sldMasterMk cId="26173702" sldId="2147483728"/>
            <pc:sldLayoutMk cId="1207953140" sldId="2147483741"/>
          </pc:sldLayoutMkLst>
        </pc:sldLayoutChg>
      </pc:sldMasterChg>
    </pc:docChg>
  </pc:docChgLst>
  <pc:docChgLst>
    <pc:chgData name="Matt Edwards" userId="743beebf-6b9a-4058-bd48-8c152c2503f6" providerId="ADAL" clId="{E77C93F7-CBDB-4DB4-8C5B-FC9F6DB3FC51}"/>
    <pc:docChg chg="undo custSel addSld delSld modSld sldOrd">
      <pc:chgData name="Matt Edwards" userId="743beebf-6b9a-4058-bd48-8c152c2503f6" providerId="ADAL" clId="{E77C93F7-CBDB-4DB4-8C5B-FC9F6DB3FC51}" dt="2025-04-17T13:24:53.401" v="9161" actId="5793"/>
      <pc:docMkLst>
        <pc:docMk/>
      </pc:docMkLst>
      <pc:sldChg chg="del">
        <pc:chgData name="Matt Edwards" userId="743beebf-6b9a-4058-bd48-8c152c2503f6" providerId="ADAL" clId="{E77C93F7-CBDB-4DB4-8C5B-FC9F6DB3FC51}" dt="2025-04-11T18:23:50.702" v="4053" actId="47"/>
        <pc:sldMkLst>
          <pc:docMk/>
          <pc:sldMk cId="3629574610" sldId="256"/>
        </pc:sldMkLst>
      </pc:sldChg>
      <pc:sldChg chg="del">
        <pc:chgData name="Matt Edwards" userId="743beebf-6b9a-4058-bd48-8c152c2503f6" providerId="ADAL" clId="{E77C93F7-CBDB-4DB4-8C5B-FC9F6DB3FC51}" dt="2025-04-11T18:23:51.969" v="4054" actId="47"/>
        <pc:sldMkLst>
          <pc:docMk/>
          <pc:sldMk cId="4144758856" sldId="257"/>
        </pc:sldMkLst>
      </pc:sldChg>
      <pc:sldChg chg="addSp delSp modSp add del mod ord">
        <pc:chgData name="Matt Edwards" userId="743beebf-6b9a-4058-bd48-8c152c2503f6" providerId="ADAL" clId="{E77C93F7-CBDB-4DB4-8C5B-FC9F6DB3FC51}" dt="2025-04-15T15:16:59.685" v="7052" actId="47"/>
        <pc:sldMkLst>
          <pc:docMk/>
          <pc:sldMk cId="1231985835" sldId="2147471416"/>
        </pc:sldMkLst>
      </pc:sldChg>
      <pc:sldChg chg="addSp delSp modSp add mod">
        <pc:chgData name="Matt Edwards" userId="743beebf-6b9a-4058-bd48-8c152c2503f6" providerId="ADAL" clId="{E77C93F7-CBDB-4DB4-8C5B-FC9F6DB3FC51}" dt="2025-04-16T13:29:37.850" v="8666" actId="1076"/>
        <pc:sldMkLst>
          <pc:docMk/>
          <pc:sldMk cId="1035940203" sldId="2147471437"/>
        </pc:sldMkLst>
        <pc:spChg chg="mod">
          <ac:chgData name="Matt Edwards" userId="743beebf-6b9a-4058-bd48-8c152c2503f6" providerId="ADAL" clId="{E77C93F7-CBDB-4DB4-8C5B-FC9F6DB3FC51}" dt="2025-04-15T17:21:38.697" v="7408" actId="948"/>
          <ac:spMkLst>
            <pc:docMk/>
            <pc:sldMk cId="1035940203" sldId="2147471437"/>
            <ac:spMk id="2" creationId="{2B0BAE67-C863-8531-EF62-F0ECE0EA125D}"/>
          </ac:spMkLst>
        </pc:spChg>
        <pc:graphicFrameChg chg="mod">
          <ac:chgData name="Matt Edwards" userId="743beebf-6b9a-4058-bd48-8c152c2503f6" providerId="ADAL" clId="{E77C93F7-CBDB-4DB4-8C5B-FC9F6DB3FC51}" dt="2025-04-15T17:21:38.771" v="7432"/>
          <ac:graphicFrameMkLst>
            <pc:docMk/>
            <pc:sldMk cId="1035940203" sldId="2147471437"/>
            <ac:graphicFrameMk id="6" creationId="{EAB3AC2C-3678-DF14-C3C9-07A4DD7DDD7E}"/>
          </ac:graphicFrameMkLst>
        </pc:graphicFrameChg>
        <pc:graphicFrameChg chg="mod modGraphic">
          <ac:chgData name="Matt Edwards" userId="743beebf-6b9a-4058-bd48-8c152c2503f6" providerId="ADAL" clId="{E77C93F7-CBDB-4DB4-8C5B-FC9F6DB3FC51}" dt="2025-04-16T13:23:34.958" v="8655"/>
          <ac:graphicFrameMkLst>
            <pc:docMk/>
            <pc:sldMk cId="1035940203" sldId="2147471437"/>
            <ac:graphicFrameMk id="8" creationId="{AA12AE82-1BF7-8D43-1464-AF1D1EB9C3A3}"/>
          </ac:graphicFrameMkLst>
        </pc:graphicFrameChg>
        <pc:picChg chg="add mod">
          <ac:chgData name="Matt Edwards" userId="743beebf-6b9a-4058-bd48-8c152c2503f6" providerId="ADAL" clId="{E77C93F7-CBDB-4DB4-8C5B-FC9F6DB3FC51}" dt="2025-04-09T12:26:55.726" v="1484" actId="1076"/>
          <ac:picMkLst>
            <pc:docMk/>
            <pc:sldMk cId="1035940203" sldId="2147471437"/>
            <ac:picMk id="5" creationId="{273B19DD-0452-9DB8-2F7B-14771D576840}"/>
          </ac:picMkLst>
        </pc:picChg>
        <pc:picChg chg="mod">
          <ac:chgData name="Matt Edwards" userId="743beebf-6b9a-4058-bd48-8c152c2503f6" providerId="ADAL" clId="{E77C93F7-CBDB-4DB4-8C5B-FC9F6DB3FC51}" dt="2025-04-16T13:23:55.213" v="8657" actId="14100"/>
          <ac:picMkLst>
            <pc:docMk/>
            <pc:sldMk cId="1035940203" sldId="2147471437"/>
            <ac:picMk id="11" creationId="{B2F30AF8-3CCE-7BAA-AA65-D5BA87A2661D}"/>
          </ac:picMkLst>
        </pc:picChg>
        <pc:picChg chg="add mod">
          <ac:chgData name="Matt Edwards" userId="743beebf-6b9a-4058-bd48-8c152c2503f6" providerId="ADAL" clId="{E77C93F7-CBDB-4DB4-8C5B-FC9F6DB3FC51}" dt="2025-04-16T13:15:21.361" v="8583"/>
          <ac:picMkLst>
            <pc:docMk/>
            <pc:sldMk cId="1035940203" sldId="2147471437"/>
            <ac:picMk id="26" creationId="{3FAA8D69-1C2A-CD11-9657-C6205CF8FA6E}"/>
          </ac:picMkLst>
        </pc:picChg>
        <pc:picChg chg="add mod">
          <ac:chgData name="Matt Edwards" userId="743beebf-6b9a-4058-bd48-8c152c2503f6" providerId="ADAL" clId="{E77C93F7-CBDB-4DB4-8C5B-FC9F6DB3FC51}" dt="2025-04-16T13:29:37.850" v="8666" actId="1076"/>
          <ac:picMkLst>
            <pc:docMk/>
            <pc:sldMk cId="1035940203" sldId="2147471437"/>
            <ac:picMk id="30" creationId="{E6605ABD-B1CE-B2D0-0BE4-1EB32C249C61}"/>
          </ac:picMkLst>
        </pc:picChg>
      </pc:sldChg>
      <pc:sldChg chg="addSp delSp modSp add mod modNotesTx">
        <pc:chgData name="Matt Edwards" userId="743beebf-6b9a-4058-bd48-8c152c2503f6" providerId="ADAL" clId="{E77C93F7-CBDB-4DB4-8C5B-FC9F6DB3FC51}" dt="2025-04-17T13:13:48.030" v="8951" actId="20577"/>
        <pc:sldMkLst>
          <pc:docMk/>
          <pc:sldMk cId="131713009" sldId="2147472761"/>
        </pc:sldMkLst>
        <pc:spChg chg="mod ord">
          <ac:chgData name="Matt Edwards" userId="743beebf-6b9a-4058-bd48-8c152c2503f6" providerId="ADAL" clId="{E77C93F7-CBDB-4DB4-8C5B-FC9F6DB3FC51}" dt="2025-04-09T12:40:39.714" v="2073"/>
          <ac:spMkLst>
            <pc:docMk/>
            <pc:sldMk cId="131713009" sldId="2147472761"/>
            <ac:spMk id="2" creationId="{B31AAE4C-6218-85C9-39E7-235A24FE980D}"/>
          </ac:spMkLst>
        </pc:spChg>
        <pc:spChg chg="add mod">
          <ac:chgData name="Matt Edwards" userId="743beebf-6b9a-4058-bd48-8c152c2503f6" providerId="ADAL" clId="{E77C93F7-CBDB-4DB4-8C5B-FC9F6DB3FC51}" dt="2025-04-14T19:47:33.086" v="4259" actId="1076"/>
          <ac:spMkLst>
            <pc:docMk/>
            <pc:sldMk cId="131713009" sldId="2147472761"/>
            <ac:spMk id="5" creationId="{E2388EDF-1FB5-B158-9E6D-CB8EFE127651}"/>
          </ac:spMkLst>
        </pc:spChg>
        <pc:spChg chg="add mod ord">
          <ac:chgData name="Matt Edwards" userId="743beebf-6b9a-4058-bd48-8c152c2503f6" providerId="ADAL" clId="{E77C93F7-CBDB-4DB4-8C5B-FC9F6DB3FC51}" dt="2025-04-14T18:07:59.842" v="4243" actId="1036"/>
          <ac:spMkLst>
            <pc:docMk/>
            <pc:sldMk cId="131713009" sldId="2147472761"/>
            <ac:spMk id="9" creationId="{0C6030CB-9A6B-28C9-00C4-4E4221E4A896}"/>
          </ac:spMkLst>
        </pc:spChg>
        <pc:spChg chg="mod topLvl">
          <ac:chgData name="Matt Edwards" userId="743beebf-6b9a-4058-bd48-8c152c2503f6" providerId="ADAL" clId="{E77C93F7-CBDB-4DB4-8C5B-FC9F6DB3FC51}" dt="2025-04-14T19:47:33.086" v="4259" actId="1076"/>
          <ac:spMkLst>
            <pc:docMk/>
            <pc:sldMk cId="131713009" sldId="2147472761"/>
            <ac:spMk id="10" creationId="{D3D823CB-EF3F-F08F-171E-87E6BAED82C4}"/>
          </ac:spMkLst>
        </pc:spChg>
        <pc:spChg chg="mod topLvl">
          <ac:chgData name="Matt Edwards" userId="743beebf-6b9a-4058-bd48-8c152c2503f6" providerId="ADAL" clId="{E77C93F7-CBDB-4DB4-8C5B-FC9F6DB3FC51}" dt="2025-04-14T19:47:33.086" v="4259" actId="1076"/>
          <ac:spMkLst>
            <pc:docMk/>
            <pc:sldMk cId="131713009" sldId="2147472761"/>
            <ac:spMk id="12" creationId="{8B46915B-CEB3-124D-F1FC-7107FFF1B11D}"/>
          </ac:spMkLst>
        </pc:spChg>
        <pc:spChg chg="add mod">
          <ac:chgData name="Matt Edwards" userId="743beebf-6b9a-4058-bd48-8c152c2503f6" providerId="ADAL" clId="{E77C93F7-CBDB-4DB4-8C5B-FC9F6DB3FC51}" dt="2025-04-16T13:11:23.423" v="8503" actId="113"/>
          <ac:spMkLst>
            <pc:docMk/>
            <pc:sldMk cId="131713009" sldId="2147472761"/>
            <ac:spMk id="16" creationId="{7EEB87EA-6006-A7A2-C674-294A65A83223}"/>
          </ac:spMkLst>
        </pc:spChg>
        <pc:spChg chg="add mod">
          <ac:chgData name="Matt Edwards" userId="743beebf-6b9a-4058-bd48-8c152c2503f6" providerId="ADAL" clId="{E77C93F7-CBDB-4DB4-8C5B-FC9F6DB3FC51}" dt="2025-04-16T13:11:26.431" v="8504" actId="113"/>
          <ac:spMkLst>
            <pc:docMk/>
            <pc:sldMk cId="131713009" sldId="2147472761"/>
            <ac:spMk id="17" creationId="{7E4E4B9D-442A-E312-9898-908CBFE3330D}"/>
          </ac:spMkLst>
        </pc:spChg>
        <pc:spChg chg="add mod">
          <ac:chgData name="Matt Edwards" userId="743beebf-6b9a-4058-bd48-8c152c2503f6" providerId="ADAL" clId="{E77C93F7-CBDB-4DB4-8C5B-FC9F6DB3FC51}" dt="2025-04-14T19:47:33.086" v="4259" actId="1076"/>
          <ac:spMkLst>
            <pc:docMk/>
            <pc:sldMk cId="131713009" sldId="2147472761"/>
            <ac:spMk id="23" creationId="{1AA22386-5A29-9E61-208F-847BC3DF205D}"/>
          </ac:spMkLst>
        </pc:spChg>
        <pc:spChg chg="add mod">
          <ac:chgData name="Matt Edwards" userId="743beebf-6b9a-4058-bd48-8c152c2503f6" providerId="ADAL" clId="{E77C93F7-CBDB-4DB4-8C5B-FC9F6DB3FC51}" dt="2025-04-14T19:47:33.086" v="4259" actId="1076"/>
          <ac:spMkLst>
            <pc:docMk/>
            <pc:sldMk cId="131713009" sldId="2147472761"/>
            <ac:spMk id="24" creationId="{BC17DA18-CB5D-D452-A6ED-9ACCD224A0DF}"/>
          </ac:spMkLst>
        </pc:spChg>
        <pc:spChg chg="add mod ord">
          <ac:chgData name="Matt Edwards" userId="743beebf-6b9a-4058-bd48-8c152c2503f6" providerId="ADAL" clId="{E77C93F7-CBDB-4DB4-8C5B-FC9F6DB3FC51}" dt="2025-04-15T14:22:40.319" v="6855" actId="115"/>
          <ac:spMkLst>
            <pc:docMk/>
            <pc:sldMk cId="131713009" sldId="2147472761"/>
            <ac:spMk id="25" creationId="{BE008460-9762-CFE9-2E8D-DC8676C0E450}"/>
          </ac:spMkLst>
        </pc:spChg>
        <pc:spChg chg="add mod">
          <ac:chgData name="Matt Edwards" userId="743beebf-6b9a-4058-bd48-8c152c2503f6" providerId="ADAL" clId="{E77C93F7-CBDB-4DB4-8C5B-FC9F6DB3FC51}" dt="2025-04-14T19:47:33.086" v="4259" actId="1076"/>
          <ac:spMkLst>
            <pc:docMk/>
            <pc:sldMk cId="131713009" sldId="2147472761"/>
            <ac:spMk id="26" creationId="{C30A22D2-A2D4-A73C-283E-E65A0DC0BD70}"/>
          </ac:spMkLst>
        </pc:spChg>
        <pc:spChg chg="add mod">
          <ac:chgData name="Matt Edwards" userId="743beebf-6b9a-4058-bd48-8c152c2503f6" providerId="ADAL" clId="{E77C93F7-CBDB-4DB4-8C5B-FC9F6DB3FC51}" dt="2025-04-16T13:11:16.500" v="8500" actId="208"/>
          <ac:spMkLst>
            <pc:docMk/>
            <pc:sldMk cId="131713009" sldId="2147472761"/>
            <ac:spMk id="48" creationId="{08A7987E-E458-213B-80F8-79C5B2667F6B}"/>
          </ac:spMkLst>
        </pc:spChg>
        <pc:grpChg chg="add mod ord">
          <ac:chgData name="Matt Edwards" userId="743beebf-6b9a-4058-bd48-8c152c2503f6" providerId="ADAL" clId="{E77C93F7-CBDB-4DB4-8C5B-FC9F6DB3FC51}" dt="2025-04-10T14:07:01.608" v="2835" actId="164"/>
          <ac:grpSpMkLst>
            <pc:docMk/>
            <pc:sldMk cId="131713009" sldId="2147472761"/>
            <ac:grpSpMk id="6" creationId="{794E2F44-85CD-3CC6-D130-BB7A65647425}"/>
          </ac:grpSpMkLst>
        </pc:grpChg>
        <pc:grpChg chg="add mod">
          <ac:chgData name="Matt Edwards" userId="743beebf-6b9a-4058-bd48-8c152c2503f6" providerId="ADAL" clId="{E77C93F7-CBDB-4DB4-8C5B-FC9F6DB3FC51}" dt="2025-04-10T14:07:52.500" v="2851" actId="1076"/>
          <ac:grpSpMkLst>
            <pc:docMk/>
            <pc:sldMk cId="131713009" sldId="2147472761"/>
            <ac:grpSpMk id="7" creationId="{BC3BCCEE-0C1C-674C-00F8-3DF91460BB1B}"/>
          </ac:grpSpMkLst>
        </pc:grpChg>
        <pc:grpChg chg="add mod">
          <ac:chgData name="Matt Edwards" userId="743beebf-6b9a-4058-bd48-8c152c2503f6" providerId="ADAL" clId="{E77C93F7-CBDB-4DB4-8C5B-FC9F6DB3FC51}" dt="2025-04-10T14:07:52.500" v="2851" actId="1076"/>
          <ac:grpSpMkLst>
            <pc:docMk/>
            <pc:sldMk cId="131713009" sldId="2147472761"/>
            <ac:grpSpMk id="20" creationId="{D015ED36-86F8-E5BF-A203-58A6E3DD1803}"/>
          </ac:grpSpMkLst>
        </pc:grpChg>
        <pc:grpChg chg="add mod">
          <ac:chgData name="Matt Edwards" userId="743beebf-6b9a-4058-bd48-8c152c2503f6" providerId="ADAL" clId="{E77C93F7-CBDB-4DB4-8C5B-FC9F6DB3FC51}" dt="2025-04-10T14:07:01.608" v="2835" actId="164"/>
          <ac:grpSpMkLst>
            <pc:docMk/>
            <pc:sldMk cId="131713009" sldId="2147472761"/>
            <ac:grpSpMk id="21" creationId="{3D059CF1-B137-D741-8001-5F43E13B2D6C}"/>
          </ac:grpSpMkLst>
        </pc:grpChg>
        <pc:grpChg chg="mod">
          <ac:chgData name="Matt Edwards" userId="743beebf-6b9a-4058-bd48-8c152c2503f6" providerId="ADAL" clId="{E77C93F7-CBDB-4DB4-8C5B-FC9F6DB3FC51}" dt="2025-04-15T12:59:49.992" v="6585" actId="164"/>
          <ac:grpSpMkLst>
            <pc:docMk/>
            <pc:sldMk cId="131713009" sldId="2147472761"/>
            <ac:grpSpMk id="29" creationId="{2DFC4811-0C37-FE21-0823-86DB9A5E68B9}"/>
          </ac:grpSpMkLst>
        </pc:grpChg>
        <pc:grpChg chg="add mod">
          <ac:chgData name="Matt Edwards" userId="743beebf-6b9a-4058-bd48-8c152c2503f6" providerId="ADAL" clId="{E77C93F7-CBDB-4DB4-8C5B-FC9F6DB3FC51}" dt="2025-04-15T12:59:49.992" v="6585" actId="164"/>
          <ac:grpSpMkLst>
            <pc:docMk/>
            <pc:sldMk cId="131713009" sldId="2147472761"/>
            <ac:grpSpMk id="49" creationId="{DD9B88A2-B9D0-1534-FF32-A4896D1680E6}"/>
          </ac:grpSpMkLst>
        </pc:grpChg>
        <pc:graphicFrameChg chg="add mod ord modVis">
          <ac:chgData name="Matt Edwards" userId="743beebf-6b9a-4058-bd48-8c152c2503f6" providerId="ADAL" clId="{E77C93F7-CBDB-4DB4-8C5B-FC9F6DB3FC51}" dt="2025-04-09T12:40:39.718" v="2086"/>
          <ac:graphicFrameMkLst>
            <pc:docMk/>
            <pc:sldMk cId="131713009" sldId="2147472761"/>
            <ac:graphicFrameMk id="13" creationId="{64EC0CC9-6CE4-7FF3-9B28-5E04779ADA88}"/>
          </ac:graphicFrameMkLst>
        </pc:graphicFrameChg>
        <pc:picChg chg="add mod">
          <ac:chgData name="Matt Edwards" userId="743beebf-6b9a-4058-bd48-8c152c2503f6" providerId="ADAL" clId="{E77C93F7-CBDB-4DB4-8C5B-FC9F6DB3FC51}" dt="2025-04-10T14:07:23.811" v="2841" actId="1076"/>
          <ac:picMkLst>
            <pc:docMk/>
            <pc:sldMk cId="131713009" sldId="2147472761"/>
            <ac:picMk id="4" creationId="{FB02D6A7-1E2F-21A5-8009-1F821B443460}"/>
          </ac:picMkLst>
        </pc:picChg>
        <pc:picChg chg="mod topLvl">
          <ac:chgData name="Matt Edwards" userId="743beebf-6b9a-4058-bd48-8c152c2503f6" providerId="ADAL" clId="{E77C93F7-CBDB-4DB4-8C5B-FC9F6DB3FC51}" dt="2025-04-14T18:08:34.757" v="4254" actId="1035"/>
          <ac:picMkLst>
            <pc:docMk/>
            <pc:sldMk cId="131713009" sldId="2147472761"/>
            <ac:picMk id="8" creationId="{C9A4BE66-550B-FA57-0114-C6D0A0003AFC}"/>
          </ac:picMkLst>
        </pc:picChg>
        <pc:picChg chg="mod">
          <ac:chgData name="Matt Edwards" userId="743beebf-6b9a-4058-bd48-8c152c2503f6" providerId="ADAL" clId="{E77C93F7-CBDB-4DB4-8C5B-FC9F6DB3FC51}" dt="2025-04-10T14:07:52.500" v="2851" actId="1076"/>
          <ac:picMkLst>
            <pc:docMk/>
            <pc:sldMk cId="131713009" sldId="2147472761"/>
            <ac:picMk id="11" creationId="{F328317A-ABB9-EE8A-6889-A436C351FA74}"/>
          </ac:picMkLst>
        </pc:picChg>
        <pc:picChg chg="mod modCrop">
          <ac:chgData name="Matt Edwards" userId="743beebf-6b9a-4058-bd48-8c152c2503f6" providerId="ADAL" clId="{E77C93F7-CBDB-4DB4-8C5B-FC9F6DB3FC51}" dt="2025-04-10T14:07:23.811" v="2841" actId="1076"/>
          <ac:picMkLst>
            <pc:docMk/>
            <pc:sldMk cId="131713009" sldId="2147472761"/>
            <ac:picMk id="18" creationId="{B66FEA07-2237-5F9E-231F-177A0B6AEF88}"/>
          </ac:picMkLst>
        </pc:picChg>
        <pc:picChg chg="mod">
          <ac:chgData name="Matt Edwards" userId="743beebf-6b9a-4058-bd48-8c152c2503f6" providerId="ADAL" clId="{E77C93F7-CBDB-4DB4-8C5B-FC9F6DB3FC51}" dt="2025-04-14T18:08:40.272" v="4256" actId="1036"/>
          <ac:picMkLst>
            <pc:docMk/>
            <pc:sldMk cId="131713009" sldId="2147472761"/>
            <ac:picMk id="19" creationId="{6BE2F3EF-0A30-5EF2-6236-908AE3A332BA}"/>
          </ac:picMkLst>
        </pc:picChg>
        <pc:picChg chg="mod">
          <ac:chgData name="Matt Edwards" userId="743beebf-6b9a-4058-bd48-8c152c2503f6" providerId="ADAL" clId="{E77C93F7-CBDB-4DB4-8C5B-FC9F6DB3FC51}" dt="2025-04-11T18:10:52.392" v="3640"/>
          <ac:picMkLst>
            <pc:docMk/>
            <pc:sldMk cId="131713009" sldId="2147472761"/>
            <ac:picMk id="30" creationId="{B2BF8CC4-26D1-0513-E182-6FFC9BEACC89}"/>
          </ac:picMkLst>
        </pc:picChg>
        <pc:picChg chg="mod">
          <ac:chgData name="Matt Edwards" userId="743beebf-6b9a-4058-bd48-8c152c2503f6" providerId="ADAL" clId="{E77C93F7-CBDB-4DB4-8C5B-FC9F6DB3FC51}" dt="2025-04-11T18:10:52.392" v="3640"/>
          <ac:picMkLst>
            <pc:docMk/>
            <pc:sldMk cId="131713009" sldId="2147472761"/>
            <ac:picMk id="32" creationId="{9B8E6E2A-188E-A1E4-DD3F-965F6948AB1E}"/>
          </ac:picMkLst>
        </pc:picChg>
        <pc:picChg chg="mod">
          <ac:chgData name="Matt Edwards" userId="743beebf-6b9a-4058-bd48-8c152c2503f6" providerId="ADAL" clId="{E77C93F7-CBDB-4DB4-8C5B-FC9F6DB3FC51}" dt="2025-04-11T18:10:52.392" v="3640"/>
          <ac:picMkLst>
            <pc:docMk/>
            <pc:sldMk cId="131713009" sldId="2147472761"/>
            <ac:picMk id="33" creationId="{8C7A1187-5855-27A7-4BE5-80FC9510CE09}"/>
          </ac:picMkLst>
        </pc:picChg>
        <pc:picChg chg="mod">
          <ac:chgData name="Matt Edwards" userId="743beebf-6b9a-4058-bd48-8c152c2503f6" providerId="ADAL" clId="{E77C93F7-CBDB-4DB4-8C5B-FC9F6DB3FC51}" dt="2025-04-11T18:10:52.392" v="3640"/>
          <ac:picMkLst>
            <pc:docMk/>
            <pc:sldMk cId="131713009" sldId="2147472761"/>
            <ac:picMk id="37" creationId="{15DBC480-63FA-662A-FAC2-47836BFABE68}"/>
          </ac:picMkLst>
        </pc:picChg>
        <pc:picChg chg="mod">
          <ac:chgData name="Matt Edwards" userId="743beebf-6b9a-4058-bd48-8c152c2503f6" providerId="ADAL" clId="{E77C93F7-CBDB-4DB4-8C5B-FC9F6DB3FC51}" dt="2025-04-11T18:10:52.392" v="3640"/>
          <ac:picMkLst>
            <pc:docMk/>
            <pc:sldMk cId="131713009" sldId="2147472761"/>
            <ac:picMk id="38" creationId="{4946DC52-FE61-93E4-1825-71B8C866DB56}"/>
          </ac:picMkLst>
        </pc:picChg>
        <pc:picChg chg="mod">
          <ac:chgData name="Matt Edwards" userId="743beebf-6b9a-4058-bd48-8c152c2503f6" providerId="ADAL" clId="{E77C93F7-CBDB-4DB4-8C5B-FC9F6DB3FC51}" dt="2025-04-11T18:10:52.392" v="3640"/>
          <ac:picMkLst>
            <pc:docMk/>
            <pc:sldMk cId="131713009" sldId="2147472761"/>
            <ac:picMk id="39" creationId="{584125AD-09C2-DBA4-2560-9E21FBD48A39}"/>
          </ac:picMkLst>
        </pc:picChg>
        <pc:picChg chg="mod">
          <ac:chgData name="Matt Edwards" userId="743beebf-6b9a-4058-bd48-8c152c2503f6" providerId="ADAL" clId="{E77C93F7-CBDB-4DB4-8C5B-FC9F6DB3FC51}" dt="2025-04-11T18:10:52.392" v="3640"/>
          <ac:picMkLst>
            <pc:docMk/>
            <pc:sldMk cId="131713009" sldId="2147472761"/>
            <ac:picMk id="43" creationId="{9C4E0433-3346-DA46-F21F-EFBFAD80DFF1}"/>
          </ac:picMkLst>
        </pc:picChg>
        <pc:picChg chg="mod">
          <ac:chgData name="Matt Edwards" userId="743beebf-6b9a-4058-bd48-8c152c2503f6" providerId="ADAL" clId="{E77C93F7-CBDB-4DB4-8C5B-FC9F6DB3FC51}" dt="2025-04-11T18:10:52.392" v="3640"/>
          <ac:picMkLst>
            <pc:docMk/>
            <pc:sldMk cId="131713009" sldId="2147472761"/>
            <ac:picMk id="45" creationId="{1765EDE6-70BB-A70C-1C64-9F502E1BEE5F}"/>
          </ac:picMkLst>
        </pc:picChg>
        <pc:picChg chg="mod">
          <ac:chgData name="Matt Edwards" userId="743beebf-6b9a-4058-bd48-8c152c2503f6" providerId="ADAL" clId="{E77C93F7-CBDB-4DB4-8C5B-FC9F6DB3FC51}" dt="2025-04-11T18:10:52.392" v="3640"/>
          <ac:picMkLst>
            <pc:docMk/>
            <pc:sldMk cId="131713009" sldId="2147472761"/>
            <ac:picMk id="46" creationId="{65C56798-BC41-43DF-CC28-F8BEE2483EE0}"/>
          </ac:picMkLst>
        </pc:picChg>
        <pc:picChg chg="mod">
          <ac:chgData name="Matt Edwards" userId="743beebf-6b9a-4058-bd48-8c152c2503f6" providerId="ADAL" clId="{E77C93F7-CBDB-4DB4-8C5B-FC9F6DB3FC51}" dt="2025-04-11T18:10:52.392" v="3640"/>
          <ac:picMkLst>
            <pc:docMk/>
            <pc:sldMk cId="131713009" sldId="2147472761"/>
            <ac:picMk id="47" creationId="{5321A686-09D3-C01D-D447-8F35CC00792E}"/>
          </ac:picMkLst>
        </pc:picChg>
        <pc:picChg chg="add mod">
          <ac:chgData name="Matt Edwards" userId="743beebf-6b9a-4058-bd48-8c152c2503f6" providerId="ADAL" clId="{E77C93F7-CBDB-4DB4-8C5B-FC9F6DB3FC51}" dt="2025-04-16T13:06:29.478" v="8208"/>
          <ac:picMkLst>
            <pc:docMk/>
            <pc:sldMk cId="131713009" sldId="2147472761"/>
            <ac:picMk id="50" creationId="{2016837F-62B5-9721-617A-9E6BAC424AEE}"/>
          </ac:picMkLst>
        </pc:picChg>
        <pc:picChg chg="add mod">
          <ac:chgData name="Matt Edwards" userId="743beebf-6b9a-4058-bd48-8c152c2503f6" providerId="ADAL" clId="{E77C93F7-CBDB-4DB4-8C5B-FC9F6DB3FC51}" dt="2025-04-16T13:15:15.088" v="8579"/>
          <ac:picMkLst>
            <pc:docMk/>
            <pc:sldMk cId="131713009" sldId="2147472761"/>
            <ac:picMk id="51" creationId="{43491B89-C308-D207-5CC4-47F02B5EE5E3}"/>
          </ac:picMkLst>
        </pc:picChg>
      </pc:sldChg>
      <pc:sldChg chg="add">
        <pc:chgData name="Matt Edwards" userId="743beebf-6b9a-4058-bd48-8c152c2503f6" providerId="ADAL" clId="{E77C93F7-CBDB-4DB4-8C5B-FC9F6DB3FC51}" dt="2025-04-07T12:11:30.338" v="0"/>
        <pc:sldMkLst>
          <pc:docMk/>
          <pc:sldMk cId="352107030" sldId="2147473199"/>
        </pc:sldMkLst>
      </pc:sldChg>
      <pc:sldChg chg="modSp add mod">
        <pc:chgData name="Matt Edwards" userId="743beebf-6b9a-4058-bd48-8c152c2503f6" providerId="ADAL" clId="{E77C93F7-CBDB-4DB4-8C5B-FC9F6DB3FC51}" dt="2025-04-07T12:18:13.211" v="2" actId="1076"/>
        <pc:sldMkLst>
          <pc:docMk/>
          <pc:sldMk cId="3617232066" sldId="2147473341"/>
        </pc:sldMkLst>
      </pc:sldChg>
      <pc:sldChg chg="addSp delSp modSp add del mod">
        <pc:chgData name="Matt Edwards" userId="743beebf-6b9a-4058-bd48-8c152c2503f6" providerId="ADAL" clId="{E77C93F7-CBDB-4DB4-8C5B-FC9F6DB3FC51}" dt="2025-04-11T18:24:03.691" v="4056" actId="47"/>
        <pc:sldMkLst>
          <pc:docMk/>
          <pc:sldMk cId="337523398" sldId="2147473500"/>
        </pc:sldMkLst>
      </pc:sldChg>
      <pc:sldChg chg="addSp delSp modSp add del mod">
        <pc:chgData name="Matt Edwards" userId="743beebf-6b9a-4058-bd48-8c152c2503f6" providerId="ADAL" clId="{E77C93F7-CBDB-4DB4-8C5B-FC9F6DB3FC51}" dt="2025-04-14T19:51:28.569" v="4280" actId="47"/>
        <pc:sldMkLst>
          <pc:docMk/>
          <pc:sldMk cId="1297204681" sldId="2147473501"/>
        </pc:sldMkLst>
      </pc:sldChg>
      <pc:sldChg chg="addSp delSp modSp new del mod ord">
        <pc:chgData name="Matt Edwards" userId="743beebf-6b9a-4058-bd48-8c152c2503f6" providerId="ADAL" clId="{E77C93F7-CBDB-4DB4-8C5B-FC9F6DB3FC51}" dt="2025-04-16T11:55:19.115" v="7836" actId="47"/>
        <pc:sldMkLst>
          <pc:docMk/>
          <pc:sldMk cId="1826985332" sldId="2147473502"/>
        </pc:sldMkLst>
      </pc:sldChg>
      <pc:sldChg chg="addSp delSp modSp new del mod">
        <pc:chgData name="Matt Edwards" userId="743beebf-6b9a-4058-bd48-8c152c2503f6" providerId="ADAL" clId="{E77C93F7-CBDB-4DB4-8C5B-FC9F6DB3FC51}" dt="2025-04-08T16:37:50.530" v="720" actId="47"/>
        <pc:sldMkLst>
          <pc:docMk/>
          <pc:sldMk cId="3218359575" sldId="2147473503"/>
        </pc:sldMkLst>
      </pc:sldChg>
      <pc:sldChg chg="addSp delSp modSp new mod">
        <pc:chgData name="Matt Edwards" userId="743beebf-6b9a-4058-bd48-8c152c2503f6" providerId="ADAL" clId="{E77C93F7-CBDB-4DB4-8C5B-FC9F6DB3FC51}" dt="2025-04-16T13:15:16.528" v="8580"/>
        <pc:sldMkLst>
          <pc:docMk/>
          <pc:sldMk cId="2586034402" sldId="2147473504"/>
        </pc:sldMkLst>
        <pc:spChg chg="mod">
          <ac:chgData name="Matt Edwards" userId="743beebf-6b9a-4058-bd48-8c152c2503f6" providerId="ADAL" clId="{E77C93F7-CBDB-4DB4-8C5B-FC9F6DB3FC51}" dt="2025-04-08T16:35:18.882" v="524" actId="948"/>
          <ac:spMkLst>
            <pc:docMk/>
            <pc:sldMk cId="2586034402" sldId="2147473504"/>
            <ac:spMk id="2" creationId="{FF470B5A-2D5D-5E63-E1BF-C9F2104E4E29}"/>
          </ac:spMkLst>
        </pc:spChg>
        <pc:spChg chg="add mod">
          <ac:chgData name="Matt Edwards" userId="743beebf-6b9a-4058-bd48-8c152c2503f6" providerId="ADAL" clId="{E77C93F7-CBDB-4DB4-8C5B-FC9F6DB3FC51}" dt="2025-04-15T14:10:04.767" v="6698" actId="1076"/>
          <ac:spMkLst>
            <pc:docMk/>
            <pc:sldMk cId="2586034402" sldId="2147473504"/>
            <ac:spMk id="5" creationId="{5735A34E-2476-897A-7F3C-DFD98CD2A647}"/>
          </ac:spMkLst>
        </pc:spChg>
        <pc:spChg chg="add mod">
          <ac:chgData name="Matt Edwards" userId="743beebf-6b9a-4058-bd48-8c152c2503f6" providerId="ADAL" clId="{E77C93F7-CBDB-4DB4-8C5B-FC9F6DB3FC51}" dt="2025-04-15T14:10:11.098" v="6700" actId="115"/>
          <ac:spMkLst>
            <pc:docMk/>
            <pc:sldMk cId="2586034402" sldId="2147473504"/>
            <ac:spMk id="6" creationId="{0060E4F4-CD08-7041-6C42-8BD575F81618}"/>
          </ac:spMkLst>
        </pc:spChg>
        <pc:spChg chg="add mod">
          <ac:chgData name="Matt Edwards" userId="743beebf-6b9a-4058-bd48-8c152c2503f6" providerId="ADAL" clId="{E77C93F7-CBDB-4DB4-8C5B-FC9F6DB3FC51}" dt="2025-04-14T19:48:23.297" v="4271" actId="164"/>
          <ac:spMkLst>
            <pc:docMk/>
            <pc:sldMk cId="2586034402" sldId="2147473504"/>
            <ac:spMk id="15" creationId="{0036966F-703A-BB3E-6CD4-2988A7FC31D5}"/>
          </ac:spMkLst>
        </pc:spChg>
        <pc:spChg chg="add mod">
          <ac:chgData name="Matt Edwards" userId="743beebf-6b9a-4058-bd48-8c152c2503f6" providerId="ADAL" clId="{E77C93F7-CBDB-4DB4-8C5B-FC9F6DB3FC51}" dt="2025-04-14T19:48:23.297" v="4271" actId="164"/>
          <ac:spMkLst>
            <pc:docMk/>
            <pc:sldMk cId="2586034402" sldId="2147473504"/>
            <ac:spMk id="16" creationId="{E4E63A3B-F8AE-B5DF-0BC4-53F3DBC7DD18}"/>
          </ac:spMkLst>
        </pc:spChg>
        <pc:spChg chg="add mod">
          <ac:chgData name="Matt Edwards" userId="743beebf-6b9a-4058-bd48-8c152c2503f6" providerId="ADAL" clId="{E77C93F7-CBDB-4DB4-8C5B-FC9F6DB3FC51}" dt="2025-04-14T19:48:23.297" v="4271" actId="164"/>
          <ac:spMkLst>
            <pc:docMk/>
            <pc:sldMk cId="2586034402" sldId="2147473504"/>
            <ac:spMk id="17" creationId="{A3218192-9665-F0F0-07DE-475BF6E2B491}"/>
          </ac:spMkLst>
        </pc:spChg>
        <pc:spChg chg="mod">
          <ac:chgData name="Matt Edwards" userId="743beebf-6b9a-4058-bd48-8c152c2503f6" providerId="ADAL" clId="{E77C93F7-CBDB-4DB4-8C5B-FC9F6DB3FC51}" dt="2025-04-16T13:11:34.033" v="8505" actId="208"/>
          <ac:spMkLst>
            <pc:docMk/>
            <pc:sldMk cId="2586034402" sldId="2147473504"/>
            <ac:spMk id="44" creationId="{A4947CA8-2611-EE0F-34B8-54F1C3034D21}"/>
          </ac:spMkLst>
        </pc:spChg>
        <pc:grpChg chg="add mod">
          <ac:chgData name="Matt Edwards" userId="743beebf-6b9a-4058-bd48-8c152c2503f6" providerId="ADAL" clId="{E77C93F7-CBDB-4DB4-8C5B-FC9F6DB3FC51}" dt="2025-04-15T14:10:22.247" v="6702" actId="1076"/>
          <ac:grpSpMkLst>
            <pc:docMk/>
            <pc:sldMk cId="2586034402" sldId="2147473504"/>
            <ac:grpSpMk id="21" creationId="{909EF883-151E-A2C9-AAAC-5A8844565F12}"/>
          </ac:grpSpMkLst>
        </pc:grpChg>
        <pc:graphicFrameChg chg="add mod ord modVis">
          <ac:chgData name="Matt Edwards" userId="743beebf-6b9a-4058-bd48-8c152c2503f6" providerId="ADAL" clId="{E77C93F7-CBDB-4DB4-8C5B-FC9F6DB3FC51}" dt="2025-04-08T16:35:18.916" v="548"/>
          <ac:graphicFrameMkLst>
            <pc:docMk/>
            <pc:sldMk cId="2586034402" sldId="2147473504"/>
            <ac:graphicFrameMk id="4" creationId="{523096C3-8675-40F4-D68C-ADB6070A68C3}"/>
          </ac:graphicFrameMkLst>
        </pc:graphicFrameChg>
        <pc:graphicFrameChg chg="add mod">
          <ac:chgData name="Matt Edwards" userId="743beebf-6b9a-4058-bd48-8c152c2503f6" providerId="ADAL" clId="{E77C93F7-CBDB-4DB4-8C5B-FC9F6DB3FC51}" dt="2025-04-15T14:10:22.247" v="6702" actId="1076"/>
          <ac:graphicFrameMkLst>
            <pc:docMk/>
            <pc:sldMk cId="2586034402" sldId="2147473504"/>
            <ac:graphicFrameMk id="10" creationId="{41D8CA5B-4023-A131-0103-BE1BF71143F3}"/>
          </ac:graphicFrameMkLst>
        </pc:graphicFrameChg>
        <pc:picChg chg="add mod">
          <ac:chgData name="Matt Edwards" userId="743beebf-6b9a-4058-bd48-8c152c2503f6" providerId="ADAL" clId="{E77C93F7-CBDB-4DB4-8C5B-FC9F6DB3FC51}" dt="2025-04-14T19:48:23.297" v="4271" actId="164"/>
          <ac:picMkLst>
            <pc:docMk/>
            <pc:sldMk cId="2586034402" sldId="2147473504"/>
            <ac:picMk id="12" creationId="{70194B50-D0D2-0169-5C5A-4A9451B34696}"/>
          </ac:picMkLst>
        </pc:picChg>
        <pc:picChg chg="add mod modCrop">
          <ac:chgData name="Matt Edwards" userId="743beebf-6b9a-4058-bd48-8c152c2503f6" providerId="ADAL" clId="{E77C93F7-CBDB-4DB4-8C5B-FC9F6DB3FC51}" dt="2025-04-14T19:48:23.297" v="4271" actId="164"/>
          <ac:picMkLst>
            <pc:docMk/>
            <pc:sldMk cId="2586034402" sldId="2147473504"/>
            <ac:picMk id="14" creationId="{45BE90FF-88FB-0DAE-2C05-45E280B05CB5}"/>
          </ac:picMkLst>
        </pc:picChg>
        <pc:picChg chg="mod">
          <ac:chgData name="Matt Edwards" userId="743beebf-6b9a-4058-bd48-8c152c2503f6" providerId="ADAL" clId="{E77C93F7-CBDB-4DB4-8C5B-FC9F6DB3FC51}" dt="2025-04-15T13:00:12.018" v="6591"/>
          <ac:picMkLst>
            <pc:docMk/>
            <pc:sldMk cId="2586034402" sldId="2147473504"/>
            <ac:picMk id="45" creationId="{63655F8B-9A7F-65BB-2AEC-56956337E1C7}"/>
          </ac:picMkLst>
        </pc:picChg>
        <pc:picChg chg="mod">
          <ac:chgData name="Matt Edwards" userId="743beebf-6b9a-4058-bd48-8c152c2503f6" providerId="ADAL" clId="{E77C93F7-CBDB-4DB4-8C5B-FC9F6DB3FC51}" dt="2025-04-15T13:00:12.018" v="6591"/>
          <ac:picMkLst>
            <pc:docMk/>
            <pc:sldMk cId="2586034402" sldId="2147473504"/>
            <ac:picMk id="47" creationId="{810438A4-5829-4C11-7004-093B1FC589E2}"/>
          </ac:picMkLst>
        </pc:picChg>
        <pc:picChg chg="mod">
          <ac:chgData name="Matt Edwards" userId="743beebf-6b9a-4058-bd48-8c152c2503f6" providerId="ADAL" clId="{E77C93F7-CBDB-4DB4-8C5B-FC9F6DB3FC51}" dt="2025-04-15T13:00:12.018" v="6591"/>
          <ac:picMkLst>
            <pc:docMk/>
            <pc:sldMk cId="2586034402" sldId="2147473504"/>
            <ac:picMk id="48" creationId="{9663C326-A496-0EAF-FAC2-E3E7C19CC7C7}"/>
          </ac:picMkLst>
        </pc:picChg>
        <pc:picChg chg="mod">
          <ac:chgData name="Matt Edwards" userId="743beebf-6b9a-4058-bd48-8c152c2503f6" providerId="ADAL" clId="{E77C93F7-CBDB-4DB4-8C5B-FC9F6DB3FC51}" dt="2025-04-15T13:00:12.018" v="6591"/>
          <ac:picMkLst>
            <pc:docMk/>
            <pc:sldMk cId="2586034402" sldId="2147473504"/>
            <ac:picMk id="53" creationId="{7C76A54A-F456-1DFD-AECD-0412AA28A37B}"/>
          </ac:picMkLst>
        </pc:picChg>
        <pc:picChg chg="mod">
          <ac:chgData name="Matt Edwards" userId="743beebf-6b9a-4058-bd48-8c152c2503f6" providerId="ADAL" clId="{E77C93F7-CBDB-4DB4-8C5B-FC9F6DB3FC51}" dt="2025-04-15T13:00:12.018" v="6591"/>
          <ac:picMkLst>
            <pc:docMk/>
            <pc:sldMk cId="2586034402" sldId="2147473504"/>
            <ac:picMk id="54" creationId="{BADEE470-531C-8ACE-2D03-D2DFA82C787C}"/>
          </ac:picMkLst>
        </pc:picChg>
        <pc:picChg chg="mod">
          <ac:chgData name="Matt Edwards" userId="743beebf-6b9a-4058-bd48-8c152c2503f6" providerId="ADAL" clId="{E77C93F7-CBDB-4DB4-8C5B-FC9F6DB3FC51}" dt="2025-04-15T13:00:12.018" v="6591"/>
          <ac:picMkLst>
            <pc:docMk/>
            <pc:sldMk cId="2586034402" sldId="2147473504"/>
            <ac:picMk id="58" creationId="{0B9A115B-F924-87B8-5458-FF696D1C6E0D}"/>
          </ac:picMkLst>
        </pc:picChg>
        <pc:picChg chg="mod">
          <ac:chgData name="Matt Edwards" userId="743beebf-6b9a-4058-bd48-8c152c2503f6" providerId="ADAL" clId="{E77C93F7-CBDB-4DB4-8C5B-FC9F6DB3FC51}" dt="2025-04-15T13:00:12.018" v="6591"/>
          <ac:picMkLst>
            <pc:docMk/>
            <pc:sldMk cId="2586034402" sldId="2147473504"/>
            <ac:picMk id="60" creationId="{C1D5CDF3-59A5-9FF3-552D-5275BA35A6D9}"/>
          </ac:picMkLst>
        </pc:picChg>
        <pc:picChg chg="mod">
          <ac:chgData name="Matt Edwards" userId="743beebf-6b9a-4058-bd48-8c152c2503f6" providerId="ADAL" clId="{E77C93F7-CBDB-4DB4-8C5B-FC9F6DB3FC51}" dt="2025-04-15T13:00:12.018" v="6591"/>
          <ac:picMkLst>
            <pc:docMk/>
            <pc:sldMk cId="2586034402" sldId="2147473504"/>
            <ac:picMk id="61" creationId="{4E72AA52-AECC-16F2-4203-0550ADC70AC2}"/>
          </ac:picMkLst>
        </pc:picChg>
        <pc:picChg chg="mod">
          <ac:chgData name="Matt Edwards" userId="743beebf-6b9a-4058-bd48-8c152c2503f6" providerId="ADAL" clId="{E77C93F7-CBDB-4DB4-8C5B-FC9F6DB3FC51}" dt="2025-04-15T13:00:12.018" v="6591"/>
          <ac:picMkLst>
            <pc:docMk/>
            <pc:sldMk cId="2586034402" sldId="2147473504"/>
            <ac:picMk id="62" creationId="{A7D04318-FD87-038C-2444-BB64AB71B914}"/>
          </ac:picMkLst>
        </pc:picChg>
        <pc:picChg chg="add mod">
          <ac:chgData name="Matt Edwards" userId="743beebf-6b9a-4058-bd48-8c152c2503f6" providerId="ADAL" clId="{E77C93F7-CBDB-4DB4-8C5B-FC9F6DB3FC51}" dt="2025-04-16T13:06:31.441" v="8209"/>
          <ac:picMkLst>
            <pc:docMk/>
            <pc:sldMk cId="2586034402" sldId="2147473504"/>
            <ac:picMk id="63" creationId="{DBAC8D1C-9DE7-017B-4134-0CC85746696B}"/>
          </ac:picMkLst>
        </pc:picChg>
        <pc:picChg chg="add mod">
          <ac:chgData name="Matt Edwards" userId="743beebf-6b9a-4058-bd48-8c152c2503f6" providerId="ADAL" clId="{E77C93F7-CBDB-4DB4-8C5B-FC9F6DB3FC51}" dt="2025-04-16T13:15:16.528" v="8580"/>
          <ac:picMkLst>
            <pc:docMk/>
            <pc:sldMk cId="2586034402" sldId="2147473504"/>
            <ac:picMk id="64" creationId="{2C19D71C-E3CD-8468-58A0-16E5D6601906}"/>
          </ac:picMkLst>
        </pc:picChg>
        <pc:cxnChg chg="add mod">
          <ac:chgData name="Matt Edwards" userId="743beebf-6b9a-4058-bd48-8c152c2503f6" providerId="ADAL" clId="{E77C93F7-CBDB-4DB4-8C5B-FC9F6DB3FC51}" dt="2025-04-14T19:48:23.297" v="4271" actId="164"/>
          <ac:cxnSpMkLst>
            <pc:docMk/>
            <pc:sldMk cId="2586034402" sldId="2147473504"/>
            <ac:cxnSpMk id="19" creationId="{C4161446-CDFE-037D-2C4C-4061E51D6C9C}"/>
          </ac:cxnSpMkLst>
        </pc:cxnChg>
      </pc:sldChg>
      <pc:sldChg chg="addSp delSp modSp new mod">
        <pc:chgData name="Matt Edwards" userId="743beebf-6b9a-4058-bd48-8c152c2503f6" providerId="ADAL" clId="{E77C93F7-CBDB-4DB4-8C5B-FC9F6DB3FC51}" dt="2025-04-17T13:24:53.401" v="9161" actId="5793"/>
        <pc:sldMkLst>
          <pc:docMk/>
          <pc:sldMk cId="835583557" sldId="2147473505"/>
        </pc:sldMkLst>
        <pc:spChg chg="mod">
          <ac:chgData name="Matt Edwards" userId="743beebf-6b9a-4058-bd48-8c152c2503f6" providerId="ADAL" clId="{E77C93F7-CBDB-4DB4-8C5B-FC9F6DB3FC51}" dt="2025-04-17T13:24:10.028" v="9087" actId="948"/>
          <ac:spMkLst>
            <pc:docMk/>
            <pc:sldMk cId="835583557" sldId="2147473505"/>
            <ac:spMk id="2" creationId="{EB4E22B5-86D7-8D21-1289-7F78FEBABCDB}"/>
          </ac:spMkLst>
        </pc:spChg>
        <pc:spChg chg="mod">
          <ac:chgData name="Matt Edwards" userId="743beebf-6b9a-4058-bd48-8c152c2503f6" providerId="ADAL" clId="{E77C93F7-CBDB-4DB4-8C5B-FC9F6DB3FC51}" dt="2025-04-17T13:24:53.401" v="9161" actId="5793"/>
          <ac:spMkLst>
            <pc:docMk/>
            <pc:sldMk cId="835583557" sldId="2147473505"/>
            <ac:spMk id="3" creationId="{9CCF5A02-EA9D-23FF-48C1-71A58933B1B3}"/>
          </ac:spMkLst>
        </pc:spChg>
        <pc:spChg chg="add mod">
          <ac:chgData name="Matt Edwards" userId="743beebf-6b9a-4058-bd48-8c152c2503f6" providerId="ADAL" clId="{E77C93F7-CBDB-4DB4-8C5B-FC9F6DB3FC51}" dt="2025-04-16T13:14:21.139" v="8536" actId="20577"/>
          <ac:spMkLst>
            <pc:docMk/>
            <pc:sldMk cId="835583557" sldId="2147473505"/>
            <ac:spMk id="4" creationId="{6DC56175-3E0D-A290-C11E-4E3D8EA61496}"/>
          </ac:spMkLst>
        </pc:spChg>
        <pc:spChg chg="add mod">
          <ac:chgData name="Matt Edwards" userId="743beebf-6b9a-4058-bd48-8c152c2503f6" providerId="ADAL" clId="{E77C93F7-CBDB-4DB4-8C5B-FC9F6DB3FC51}" dt="2025-04-16T13:14:42.535" v="8569" actId="20577"/>
          <ac:spMkLst>
            <pc:docMk/>
            <pc:sldMk cId="835583557" sldId="2147473505"/>
            <ac:spMk id="5" creationId="{99A4423E-3D47-62E8-9EA1-EBAB007B2298}"/>
          </ac:spMkLst>
        </pc:spChg>
        <pc:graphicFrameChg chg="add mod ord modVis">
          <ac:chgData name="Matt Edwards" userId="743beebf-6b9a-4058-bd48-8c152c2503f6" providerId="ADAL" clId="{E77C93F7-CBDB-4DB4-8C5B-FC9F6DB3FC51}" dt="2025-04-17T13:24:10.037" v="9089"/>
          <ac:graphicFrameMkLst>
            <pc:docMk/>
            <pc:sldMk cId="835583557" sldId="2147473505"/>
            <ac:graphicFrameMk id="11" creationId="{33002AFE-C49D-8A89-29BD-8F62A0FE12A2}"/>
          </ac:graphicFrameMkLst>
        </pc:graphicFrameChg>
        <pc:picChg chg="add mod">
          <ac:chgData name="Matt Edwards" userId="743beebf-6b9a-4058-bd48-8c152c2503f6" providerId="ADAL" clId="{E77C93F7-CBDB-4DB4-8C5B-FC9F6DB3FC51}" dt="2025-04-09T12:25:52.035" v="1432" actId="1076"/>
          <ac:picMkLst>
            <pc:docMk/>
            <pc:sldMk cId="835583557" sldId="2147473505"/>
            <ac:picMk id="7" creationId="{7D3FE546-8339-E560-BB65-187D50A3EBDE}"/>
          </ac:picMkLst>
        </pc:picChg>
        <pc:picChg chg="add mod">
          <ac:chgData name="Matt Edwards" userId="743beebf-6b9a-4058-bd48-8c152c2503f6" providerId="ADAL" clId="{E77C93F7-CBDB-4DB4-8C5B-FC9F6DB3FC51}" dt="2025-04-09T12:25:18.419" v="1418" actId="1076"/>
          <ac:picMkLst>
            <pc:docMk/>
            <pc:sldMk cId="835583557" sldId="2147473505"/>
            <ac:picMk id="9" creationId="{F584D657-8BC5-B07F-A7E3-DA62185C6989}"/>
          </ac:picMkLst>
        </pc:picChg>
        <pc:picChg chg="add mod">
          <ac:chgData name="Matt Edwards" userId="743beebf-6b9a-4058-bd48-8c152c2503f6" providerId="ADAL" clId="{E77C93F7-CBDB-4DB4-8C5B-FC9F6DB3FC51}" dt="2025-04-09T12:25:27.824" v="1420" actId="1076"/>
          <ac:picMkLst>
            <pc:docMk/>
            <pc:sldMk cId="835583557" sldId="2147473505"/>
            <ac:picMk id="10" creationId="{E9E0DC98-F319-6609-D668-FEB7466DA8A9}"/>
          </ac:picMkLst>
        </pc:picChg>
      </pc:sldChg>
      <pc:sldChg chg="addSp delSp modSp new mod">
        <pc:chgData name="Matt Edwards" userId="743beebf-6b9a-4058-bd48-8c152c2503f6" providerId="ADAL" clId="{E77C93F7-CBDB-4DB4-8C5B-FC9F6DB3FC51}" dt="2025-04-16T13:15:23.315" v="8584"/>
        <pc:sldMkLst>
          <pc:docMk/>
          <pc:sldMk cId="757225403" sldId="2147473506"/>
        </pc:sldMkLst>
        <pc:spChg chg="mod">
          <ac:chgData name="Matt Edwards" userId="743beebf-6b9a-4058-bd48-8c152c2503f6" providerId="ADAL" clId="{E77C93F7-CBDB-4DB4-8C5B-FC9F6DB3FC51}" dt="2025-04-09T12:27:13.176" v="1499" actId="948"/>
          <ac:spMkLst>
            <pc:docMk/>
            <pc:sldMk cId="757225403" sldId="2147473506"/>
            <ac:spMk id="2" creationId="{0C283243-E825-7494-A885-25C2B65B55A3}"/>
          </ac:spMkLst>
        </pc:spChg>
        <pc:spChg chg="mod">
          <ac:chgData name="Matt Edwards" userId="743beebf-6b9a-4058-bd48-8c152c2503f6" providerId="ADAL" clId="{E77C93F7-CBDB-4DB4-8C5B-FC9F6DB3FC51}" dt="2025-04-15T19:33:23.947" v="7566" actId="20577"/>
          <ac:spMkLst>
            <pc:docMk/>
            <pc:sldMk cId="757225403" sldId="2147473506"/>
            <ac:spMk id="3" creationId="{AE2CB28A-053C-3F19-E678-7314FAC81813}"/>
          </ac:spMkLst>
        </pc:spChg>
        <pc:spChg chg="add mod">
          <ac:chgData name="Matt Edwards" userId="743beebf-6b9a-4058-bd48-8c152c2503f6" providerId="ADAL" clId="{E77C93F7-CBDB-4DB4-8C5B-FC9F6DB3FC51}" dt="2025-04-15T17:16:40.922" v="7370" actId="164"/>
          <ac:spMkLst>
            <pc:docMk/>
            <pc:sldMk cId="757225403" sldId="2147473506"/>
            <ac:spMk id="8" creationId="{1B326C26-980E-F951-68D6-6CECF9399D34}"/>
          </ac:spMkLst>
        </pc:spChg>
        <pc:spChg chg="add mod">
          <ac:chgData name="Matt Edwards" userId="743beebf-6b9a-4058-bd48-8c152c2503f6" providerId="ADAL" clId="{E77C93F7-CBDB-4DB4-8C5B-FC9F6DB3FC51}" dt="2025-04-15T17:16:40.922" v="7370" actId="164"/>
          <ac:spMkLst>
            <pc:docMk/>
            <pc:sldMk cId="757225403" sldId="2147473506"/>
            <ac:spMk id="14" creationId="{F61D1A65-8D9A-26D9-47A7-F6CC8BFBAFCB}"/>
          </ac:spMkLst>
        </pc:spChg>
        <pc:spChg chg="add mod">
          <ac:chgData name="Matt Edwards" userId="743beebf-6b9a-4058-bd48-8c152c2503f6" providerId="ADAL" clId="{E77C93F7-CBDB-4DB4-8C5B-FC9F6DB3FC51}" dt="2025-04-15T17:16:40.922" v="7370" actId="164"/>
          <ac:spMkLst>
            <pc:docMk/>
            <pc:sldMk cId="757225403" sldId="2147473506"/>
            <ac:spMk id="15" creationId="{B8E814EF-286A-1718-E0C9-AA2097B20720}"/>
          </ac:spMkLst>
        </pc:spChg>
        <pc:spChg chg="add mod">
          <ac:chgData name="Matt Edwards" userId="743beebf-6b9a-4058-bd48-8c152c2503f6" providerId="ADAL" clId="{E77C93F7-CBDB-4DB4-8C5B-FC9F6DB3FC51}" dt="2025-04-15T17:16:40.922" v="7370" actId="164"/>
          <ac:spMkLst>
            <pc:docMk/>
            <pc:sldMk cId="757225403" sldId="2147473506"/>
            <ac:spMk id="34" creationId="{2551C109-D2EE-EB21-98D5-6D8C0EDB9DC9}"/>
          </ac:spMkLst>
        </pc:spChg>
        <pc:grpChg chg="add mod">
          <ac:chgData name="Matt Edwards" userId="743beebf-6b9a-4058-bd48-8c152c2503f6" providerId="ADAL" clId="{E77C93F7-CBDB-4DB4-8C5B-FC9F6DB3FC51}" dt="2025-04-15T15:38:44.534" v="7309" actId="164"/>
          <ac:grpSpMkLst>
            <pc:docMk/>
            <pc:sldMk cId="757225403" sldId="2147473506"/>
            <ac:grpSpMk id="26" creationId="{25BDECC1-63AC-D291-57CF-35BA75CDA7CC}"/>
          </ac:grpSpMkLst>
        </pc:grpChg>
        <pc:grpChg chg="add mod">
          <ac:chgData name="Matt Edwards" userId="743beebf-6b9a-4058-bd48-8c152c2503f6" providerId="ADAL" clId="{E77C93F7-CBDB-4DB4-8C5B-FC9F6DB3FC51}" dt="2025-04-15T15:38:44.534" v="7309" actId="164"/>
          <ac:grpSpMkLst>
            <pc:docMk/>
            <pc:sldMk cId="757225403" sldId="2147473506"/>
            <ac:grpSpMk id="27" creationId="{522F8EAC-9E2F-7CCB-0E15-9BF4A8799839}"/>
          </ac:grpSpMkLst>
        </pc:grpChg>
        <pc:grpChg chg="add mod">
          <ac:chgData name="Matt Edwards" userId="743beebf-6b9a-4058-bd48-8c152c2503f6" providerId="ADAL" clId="{E77C93F7-CBDB-4DB4-8C5B-FC9F6DB3FC51}" dt="2025-04-15T17:16:40.922" v="7370" actId="164"/>
          <ac:grpSpMkLst>
            <pc:docMk/>
            <pc:sldMk cId="757225403" sldId="2147473506"/>
            <ac:grpSpMk id="33" creationId="{4FF73592-E21D-AE51-1F68-B838FAC03D8A}"/>
          </ac:grpSpMkLst>
        </pc:grpChg>
        <pc:grpChg chg="add mod">
          <ac:chgData name="Matt Edwards" userId="743beebf-6b9a-4058-bd48-8c152c2503f6" providerId="ADAL" clId="{E77C93F7-CBDB-4DB4-8C5B-FC9F6DB3FC51}" dt="2025-04-15T19:33:16.834" v="7562" actId="1076"/>
          <ac:grpSpMkLst>
            <pc:docMk/>
            <pc:sldMk cId="757225403" sldId="2147473506"/>
            <ac:grpSpMk id="42" creationId="{3E96027A-C0C1-1608-6C69-CB94C618E7AD}"/>
          </ac:grpSpMkLst>
        </pc:grpChg>
        <pc:graphicFrameChg chg="add mod ord modVis">
          <ac:chgData name="Matt Edwards" userId="743beebf-6b9a-4058-bd48-8c152c2503f6" providerId="ADAL" clId="{E77C93F7-CBDB-4DB4-8C5B-FC9F6DB3FC51}" dt="2025-04-09T12:27:13.208" v="1513"/>
          <ac:graphicFrameMkLst>
            <pc:docMk/>
            <pc:sldMk cId="757225403" sldId="2147473506"/>
            <ac:graphicFrameMk id="4" creationId="{E8F31BA2-AFE6-92E3-CA1A-076E7EBD096D}"/>
          </ac:graphicFrameMkLst>
        </pc:graphicFrameChg>
        <pc:picChg chg="add mod">
          <ac:chgData name="Matt Edwards" userId="743beebf-6b9a-4058-bd48-8c152c2503f6" providerId="ADAL" clId="{E77C93F7-CBDB-4DB4-8C5B-FC9F6DB3FC51}" dt="2025-04-15T17:16:40.922" v="7370" actId="164"/>
          <ac:picMkLst>
            <pc:docMk/>
            <pc:sldMk cId="757225403" sldId="2147473506"/>
            <ac:picMk id="5" creationId="{C928171F-6738-227A-249C-729C1147606C}"/>
          </ac:picMkLst>
        </pc:picChg>
        <pc:picChg chg="add mod">
          <ac:chgData name="Matt Edwards" userId="743beebf-6b9a-4058-bd48-8c152c2503f6" providerId="ADAL" clId="{E77C93F7-CBDB-4DB4-8C5B-FC9F6DB3FC51}" dt="2025-04-15T17:16:40.922" v="7370" actId="164"/>
          <ac:picMkLst>
            <pc:docMk/>
            <pc:sldMk cId="757225403" sldId="2147473506"/>
            <ac:picMk id="13" creationId="{37841620-1667-7C72-6666-35FA10335239}"/>
          </ac:picMkLst>
        </pc:picChg>
        <pc:picChg chg="add mod">
          <ac:chgData name="Matt Edwards" userId="743beebf-6b9a-4058-bd48-8c152c2503f6" providerId="ADAL" clId="{E77C93F7-CBDB-4DB4-8C5B-FC9F6DB3FC51}" dt="2025-04-15T15:38:17.274" v="7299" actId="164"/>
          <ac:picMkLst>
            <pc:docMk/>
            <pc:sldMk cId="757225403" sldId="2147473506"/>
            <ac:picMk id="19" creationId="{E1D49AFD-6106-0503-16FD-83E19C87CB92}"/>
          </ac:picMkLst>
        </pc:picChg>
        <pc:picChg chg="add mod">
          <ac:chgData name="Matt Edwards" userId="743beebf-6b9a-4058-bd48-8c152c2503f6" providerId="ADAL" clId="{E77C93F7-CBDB-4DB4-8C5B-FC9F6DB3FC51}" dt="2025-04-15T15:38:17.274" v="7299" actId="164"/>
          <ac:picMkLst>
            <pc:docMk/>
            <pc:sldMk cId="757225403" sldId="2147473506"/>
            <ac:picMk id="22" creationId="{5BFE52A0-93AE-B675-BB26-927FFC8D8122}"/>
          </ac:picMkLst>
        </pc:picChg>
        <pc:picChg chg="add mod">
          <ac:chgData name="Matt Edwards" userId="743beebf-6b9a-4058-bd48-8c152c2503f6" providerId="ADAL" clId="{E77C93F7-CBDB-4DB4-8C5B-FC9F6DB3FC51}" dt="2025-04-15T15:38:17.274" v="7299" actId="164"/>
          <ac:picMkLst>
            <pc:docMk/>
            <pc:sldMk cId="757225403" sldId="2147473506"/>
            <ac:picMk id="23" creationId="{FC203E96-EED4-3F61-FD08-5F8370F03395}"/>
          </ac:picMkLst>
        </pc:picChg>
        <pc:picChg chg="add mod">
          <ac:chgData name="Matt Edwards" userId="743beebf-6b9a-4058-bd48-8c152c2503f6" providerId="ADAL" clId="{E77C93F7-CBDB-4DB4-8C5B-FC9F6DB3FC51}" dt="2025-04-15T15:38:17.274" v="7299" actId="164"/>
          <ac:picMkLst>
            <pc:docMk/>
            <pc:sldMk cId="757225403" sldId="2147473506"/>
            <ac:picMk id="24" creationId="{FC525D22-4A40-A511-C12E-C4EEC8BA7C8A}"/>
          </ac:picMkLst>
        </pc:picChg>
        <pc:picChg chg="add mod">
          <ac:chgData name="Matt Edwards" userId="743beebf-6b9a-4058-bd48-8c152c2503f6" providerId="ADAL" clId="{E77C93F7-CBDB-4DB4-8C5B-FC9F6DB3FC51}" dt="2025-04-15T15:38:17.274" v="7299" actId="164"/>
          <ac:picMkLst>
            <pc:docMk/>
            <pc:sldMk cId="757225403" sldId="2147473506"/>
            <ac:picMk id="25" creationId="{35F1C0FD-EC49-F3D0-EB3E-2CEF5DA34AE0}"/>
          </ac:picMkLst>
        </pc:picChg>
        <pc:picChg chg="mod">
          <ac:chgData name="Matt Edwards" userId="743beebf-6b9a-4058-bd48-8c152c2503f6" providerId="ADAL" clId="{E77C93F7-CBDB-4DB4-8C5B-FC9F6DB3FC51}" dt="2025-04-15T15:38:18.237" v="7300"/>
          <ac:picMkLst>
            <pc:docMk/>
            <pc:sldMk cId="757225403" sldId="2147473506"/>
            <ac:picMk id="28" creationId="{8389A0AA-BB5B-696C-D351-4E74EC9944B3}"/>
          </ac:picMkLst>
        </pc:picChg>
        <pc:picChg chg="mod">
          <ac:chgData name="Matt Edwards" userId="743beebf-6b9a-4058-bd48-8c152c2503f6" providerId="ADAL" clId="{E77C93F7-CBDB-4DB4-8C5B-FC9F6DB3FC51}" dt="2025-04-15T15:38:18.237" v="7300"/>
          <ac:picMkLst>
            <pc:docMk/>
            <pc:sldMk cId="757225403" sldId="2147473506"/>
            <ac:picMk id="29" creationId="{A3B97C2C-AA34-6349-6BE3-77BBE2112AF1}"/>
          </ac:picMkLst>
        </pc:picChg>
        <pc:picChg chg="mod">
          <ac:chgData name="Matt Edwards" userId="743beebf-6b9a-4058-bd48-8c152c2503f6" providerId="ADAL" clId="{E77C93F7-CBDB-4DB4-8C5B-FC9F6DB3FC51}" dt="2025-04-15T15:38:18.237" v="7300"/>
          <ac:picMkLst>
            <pc:docMk/>
            <pc:sldMk cId="757225403" sldId="2147473506"/>
            <ac:picMk id="30" creationId="{91736075-D4EA-8488-A5DA-75AD6234676F}"/>
          </ac:picMkLst>
        </pc:picChg>
        <pc:picChg chg="mod">
          <ac:chgData name="Matt Edwards" userId="743beebf-6b9a-4058-bd48-8c152c2503f6" providerId="ADAL" clId="{E77C93F7-CBDB-4DB4-8C5B-FC9F6DB3FC51}" dt="2025-04-15T15:38:18.237" v="7300"/>
          <ac:picMkLst>
            <pc:docMk/>
            <pc:sldMk cId="757225403" sldId="2147473506"/>
            <ac:picMk id="31" creationId="{B07CFF1E-CB72-7AB3-7471-08571960F12B}"/>
          </ac:picMkLst>
        </pc:picChg>
        <pc:picChg chg="mod">
          <ac:chgData name="Matt Edwards" userId="743beebf-6b9a-4058-bd48-8c152c2503f6" providerId="ADAL" clId="{E77C93F7-CBDB-4DB4-8C5B-FC9F6DB3FC51}" dt="2025-04-15T15:38:18.237" v="7300"/>
          <ac:picMkLst>
            <pc:docMk/>
            <pc:sldMk cId="757225403" sldId="2147473506"/>
            <ac:picMk id="32" creationId="{552B3224-BE89-44DA-F29C-1D06B564DD55}"/>
          </ac:picMkLst>
        </pc:picChg>
        <pc:picChg chg="add mod">
          <ac:chgData name="Matt Edwards" userId="743beebf-6b9a-4058-bd48-8c152c2503f6" providerId="ADAL" clId="{E77C93F7-CBDB-4DB4-8C5B-FC9F6DB3FC51}" dt="2025-04-15T17:16:40.922" v="7370" actId="164"/>
          <ac:picMkLst>
            <pc:docMk/>
            <pc:sldMk cId="757225403" sldId="2147473506"/>
            <ac:picMk id="41" creationId="{57D7DC96-D3E6-A4AF-E7A7-5011234264D6}"/>
          </ac:picMkLst>
        </pc:picChg>
        <pc:picChg chg="add mod">
          <ac:chgData name="Matt Edwards" userId="743beebf-6b9a-4058-bd48-8c152c2503f6" providerId="ADAL" clId="{E77C93F7-CBDB-4DB4-8C5B-FC9F6DB3FC51}" dt="2025-04-16T13:06:44.516" v="8215"/>
          <ac:picMkLst>
            <pc:docMk/>
            <pc:sldMk cId="757225403" sldId="2147473506"/>
            <ac:picMk id="43" creationId="{F9ED8E03-7CEF-8C8E-7248-B29BDEAA20E9}"/>
          </ac:picMkLst>
        </pc:picChg>
        <pc:picChg chg="add mod">
          <ac:chgData name="Matt Edwards" userId="743beebf-6b9a-4058-bd48-8c152c2503f6" providerId="ADAL" clId="{E77C93F7-CBDB-4DB4-8C5B-FC9F6DB3FC51}" dt="2025-04-16T13:15:23.315" v="8584"/>
          <ac:picMkLst>
            <pc:docMk/>
            <pc:sldMk cId="757225403" sldId="2147473506"/>
            <ac:picMk id="44" creationId="{5D6F8C10-6DE3-450E-CF8C-9AFCF0C2A115}"/>
          </ac:picMkLst>
        </pc:picChg>
        <pc:cxnChg chg="add mod">
          <ac:chgData name="Matt Edwards" userId="743beebf-6b9a-4058-bd48-8c152c2503f6" providerId="ADAL" clId="{E77C93F7-CBDB-4DB4-8C5B-FC9F6DB3FC51}" dt="2025-04-15T17:16:40.922" v="7370" actId="164"/>
          <ac:cxnSpMkLst>
            <pc:docMk/>
            <pc:sldMk cId="757225403" sldId="2147473506"/>
            <ac:cxnSpMk id="7" creationId="{2FB0A439-32D9-DED3-8B67-5694A3CC2AC0}"/>
          </ac:cxnSpMkLst>
        </pc:cxnChg>
        <pc:cxnChg chg="add mod">
          <ac:chgData name="Matt Edwards" userId="743beebf-6b9a-4058-bd48-8c152c2503f6" providerId="ADAL" clId="{E77C93F7-CBDB-4DB4-8C5B-FC9F6DB3FC51}" dt="2025-04-15T17:15:19.771" v="7345" actId="1582"/>
          <ac:cxnSpMkLst>
            <pc:docMk/>
            <pc:sldMk cId="757225403" sldId="2147473506"/>
            <ac:cxnSpMk id="38" creationId="{3EF73F00-35CD-8397-E449-0B4CBB4DEDB5}"/>
          </ac:cxnSpMkLst>
        </pc:cxnChg>
        <pc:cxnChg chg="add mod">
          <ac:chgData name="Matt Edwards" userId="743beebf-6b9a-4058-bd48-8c152c2503f6" providerId="ADAL" clId="{E77C93F7-CBDB-4DB4-8C5B-FC9F6DB3FC51}" dt="2025-04-15T17:15:24.320" v="7346" actId="1582"/>
          <ac:cxnSpMkLst>
            <pc:docMk/>
            <pc:sldMk cId="757225403" sldId="2147473506"/>
            <ac:cxnSpMk id="39" creationId="{74EE1E6A-F6FE-9279-8CDE-898EC7022C87}"/>
          </ac:cxnSpMkLst>
        </pc:cxnChg>
      </pc:sldChg>
      <pc:sldChg chg="modSp new del mod">
        <pc:chgData name="Matt Edwards" userId="743beebf-6b9a-4058-bd48-8c152c2503f6" providerId="ADAL" clId="{E77C93F7-CBDB-4DB4-8C5B-FC9F6DB3FC51}" dt="2025-04-09T12:19:06.569" v="885" actId="47"/>
        <pc:sldMkLst>
          <pc:docMk/>
          <pc:sldMk cId="2007276835" sldId="2147473506"/>
        </pc:sldMkLst>
      </pc:sldChg>
      <pc:sldChg chg="addSp delSp modSp new mod">
        <pc:chgData name="Matt Edwards" userId="743beebf-6b9a-4058-bd48-8c152c2503f6" providerId="ADAL" clId="{E77C93F7-CBDB-4DB4-8C5B-FC9F6DB3FC51}" dt="2025-04-16T13:16:30.847" v="8611"/>
        <pc:sldMkLst>
          <pc:docMk/>
          <pc:sldMk cId="686578320" sldId="2147473507"/>
        </pc:sldMkLst>
        <pc:spChg chg="mod">
          <ac:chgData name="Matt Edwards" userId="743beebf-6b9a-4058-bd48-8c152c2503f6" providerId="ADAL" clId="{E77C93F7-CBDB-4DB4-8C5B-FC9F6DB3FC51}" dt="2025-04-16T13:16:30.794" v="8588" actId="948"/>
          <ac:spMkLst>
            <pc:docMk/>
            <pc:sldMk cId="686578320" sldId="2147473507"/>
            <ac:spMk id="2" creationId="{F324A144-850F-84CC-BE60-0A27E7CDE9E9}"/>
          </ac:spMkLst>
        </pc:spChg>
        <pc:spChg chg="mod">
          <ac:chgData name="Matt Edwards" userId="743beebf-6b9a-4058-bd48-8c152c2503f6" providerId="ADAL" clId="{E77C93F7-CBDB-4DB4-8C5B-FC9F6DB3FC51}" dt="2025-04-09T12:27:59.164" v="1681" actId="404"/>
          <ac:spMkLst>
            <pc:docMk/>
            <pc:sldMk cId="686578320" sldId="2147473507"/>
            <ac:spMk id="3" creationId="{50804056-F4FA-5D82-E552-462B380EE370}"/>
          </ac:spMkLst>
        </pc:spChg>
        <pc:graphicFrameChg chg="add mod ord modVis">
          <ac:chgData name="Matt Edwards" userId="743beebf-6b9a-4058-bd48-8c152c2503f6" providerId="ADAL" clId="{E77C93F7-CBDB-4DB4-8C5B-FC9F6DB3FC51}" dt="2025-04-16T13:16:30.847" v="8611"/>
          <ac:graphicFrameMkLst>
            <pc:docMk/>
            <pc:sldMk cId="686578320" sldId="2147473507"/>
            <ac:graphicFrameMk id="5" creationId="{AB4D6E8D-1BD0-2965-2AC5-C18C9D4A1779}"/>
          </ac:graphicFrameMkLst>
        </pc:graphicFrameChg>
      </pc:sldChg>
      <pc:sldChg chg="addSp delSp modSp new mod ord">
        <pc:chgData name="Matt Edwards" userId="743beebf-6b9a-4058-bd48-8c152c2503f6" providerId="ADAL" clId="{E77C93F7-CBDB-4DB4-8C5B-FC9F6DB3FC51}" dt="2025-04-17T13:20:20.961" v="9039" actId="14100"/>
        <pc:sldMkLst>
          <pc:docMk/>
          <pc:sldMk cId="1198885967" sldId="2147473508"/>
        </pc:sldMkLst>
        <pc:spChg chg="mod ord">
          <ac:chgData name="Matt Edwards" userId="743beebf-6b9a-4058-bd48-8c152c2503f6" providerId="ADAL" clId="{E77C93F7-CBDB-4DB4-8C5B-FC9F6DB3FC51}" dt="2025-04-16T11:56:13.895" v="7873"/>
          <ac:spMkLst>
            <pc:docMk/>
            <pc:sldMk cId="1198885967" sldId="2147473508"/>
            <ac:spMk id="2" creationId="{CC963E29-61E8-74CC-3F31-E455E317A19A}"/>
          </ac:spMkLst>
        </pc:spChg>
        <pc:spChg chg="add mod">
          <ac:chgData name="Matt Edwards" userId="743beebf-6b9a-4058-bd48-8c152c2503f6" providerId="ADAL" clId="{E77C93F7-CBDB-4DB4-8C5B-FC9F6DB3FC51}" dt="2025-04-16T11:56:25.188" v="7883" actId="113"/>
          <ac:spMkLst>
            <pc:docMk/>
            <pc:sldMk cId="1198885967" sldId="2147473508"/>
            <ac:spMk id="9" creationId="{4454BB35-6542-498E-EC98-9F75B151A144}"/>
          </ac:spMkLst>
        </pc:spChg>
        <pc:spChg chg="mod ord">
          <ac:chgData name="Matt Edwards" userId="743beebf-6b9a-4058-bd48-8c152c2503f6" providerId="ADAL" clId="{E77C93F7-CBDB-4DB4-8C5B-FC9F6DB3FC51}" dt="2025-04-16T11:51:13.685" v="7577" actId="1076"/>
          <ac:spMkLst>
            <pc:docMk/>
            <pc:sldMk cId="1198885967" sldId="2147473508"/>
            <ac:spMk id="14" creationId="{7AC01F2A-45E4-AADF-8F3C-6AEA03BEBCB1}"/>
          </ac:spMkLst>
        </pc:spChg>
        <pc:spChg chg="mod ord">
          <ac:chgData name="Matt Edwards" userId="743beebf-6b9a-4058-bd48-8c152c2503f6" providerId="ADAL" clId="{E77C93F7-CBDB-4DB4-8C5B-FC9F6DB3FC51}" dt="2025-04-16T11:51:03.589" v="7575" actId="14100"/>
          <ac:spMkLst>
            <pc:docMk/>
            <pc:sldMk cId="1198885967" sldId="2147473508"/>
            <ac:spMk id="20" creationId="{6020C9C3-AFE1-EAA9-0B8E-F3F85AB74E25}"/>
          </ac:spMkLst>
        </pc:spChg>
        <pc:spChg chg="mod ord">
          <ac:chgData name="Matt Edwards" userId="743beebf-6b9a-4058-bd48-8c152c2503f6" providerId="ADAL" clId="{E77C93F7-CBDB-4DB4-8C5B-FC9F6DB3FC51}" dt="2025-04-16T11:50:32.778" v="7567" actId="164"/>
          <ac:spMkLst>
            <pc:docMk/>
            <pc:sldMk cId="1198885967" sldId="2147473508"/>
            <ac:spMk id="21" creationId="{46820DAE-0394-5AC9-1489-84004C51C1A2}"/>
          </ac:spMkLst>
        </pc:spChg>
        <pc:spChg chg="mod ord">
          <ac:chgData name="Matt Edwards" userId="743beebf-6b9a-4058-bd48-8c152c2503f6" providerId="ADAL" clId="{E77C93F7-CBDB-4DB4-8C5B-FC9F6DB3FC51}" dt="2025-04-16T11:50:32.778" v="7567" actId="164"/>
          <ac:spMkLst>
            <pc:docMk/>
            <pc:sldMk cId="1198885967" sldId="2147473508"/>
            <ac:spMk id="22" creationId="{7DBE345B-DD58-87C8-0898-8C80CB89AF3A}"/>
          </ac:spMkLst>
        </pc:spChg>
        <pc:spChg chg="mod ord">
          <ac:chgData name="Matt Edwards" userId="743beebf-6b9a-4058-bd48-8c152c2503f6" providerId="ADAL" clId="{E77C93F7-CBDB-4DB4-8C5B-FC9F6DB3FC51}" dt="2025-04-16T11:50:32.778" v="7567" actId="164"/>
          <ac:spMkLst>
            <pc:docMk/>
            <pc:sldMk cId="1198885967" sldId="2147473508"/>
            <ac:spMk id="26" creationId="{9FA62DFF-0686-6B59-C9D5-22F3D013CCA2}"/>
          </ac:spMkLst>
        </pc:spChg>
        <pc:spChg chg="mod ord">
          <ac:chgData name="Matt Edwards" userId="743beebf-6b9a-4058-bd48-8c152c2503f6" providerId="ADAL" clId="{E77C93F7-CBDB-4DB4-8C5B-FC9F6DB3FC51}" dt="2025-04-16T11:51:00.274" v="7574" actId="14100"/>
          <ac:spMkLst>
            <pc:docMk/>
            <pc:sldMk cId="1198885967" sldId="2147473508"/>
            <ac:spMk id="27" creationId="{21AF16AF-390B-3007-015F-1C08D50F2103}"/>
          </ac:spMkLst>
        </pc:spChg>
        <pc:spChg chg="mod ord">
          <ac:chgData name="Matt Edwards" userId="743beebf-6b9a-4058-bd48-8c152c2503f6" providerId="ADAL" clId="{E77C93F7-CBDB-4DB4-8C5B-FC9F6DB3FC51}" dt="2025-04-17T13:20:20.961" v="9039" actId="14100"/>
          <ac:spMkLst>
            <pc:docMk/>
            <pc:sldMk cId="1198885967" sldId="2147473508"/>
            <ac:spMk id="30" creationId="{494C31E8-420E-37EC-31E5-56B0CD3748F2}"/>
          </ac:spMkLst>
        </pc:spChg>
        <pc:spChg chg="mod ord">
          <ac:chgData name="Matt Edwards" userId="743beebf-6b9a-4058-bd48-8c152c2503f6" providerId="ADAL" clId="{E77C93F7-CBDB-4DB4-8C5B-FC9F6DB3FC51}" dt="2025-04-16T11:55:33.143" v="7837" actId="14100"/>
          <ac:spMkLst>
            <pc:docMk/>
            <pc:sldMk cId="1198885967" sldId="2147473508"/>
            <ac:spMk id="34" creationId="{F1F89EE5-594F-6839-7829-08B2EC048921}"/>
          </ac:spMkLst>
        </pc:spChg>
        <pc:spChg chg="mod ord">
          <ac:chgData name="Matt Edwards" userId="743beebf-6b9a-4058-bd48-8c152c2503f6" providerId="ADAL" clId="{E77C93F7-CBDB-4DB4-8C5B-FC9F6DB3FC51}" dt="2025-04-16T11:56:21.631" v="7882" actId="1076"/>
          <ac:spMkLst>
            <pc:docMk/>
            <pc:sldMk cId="1198885967" sldId="2147473508"/>
            <ac:spMk id="36" creationId="{3698E865-7E0F-5588-DC3E-A41C87FDC993}"/>
          </ac:spMkLst>
        </pc:spChg>
        <pc:spChg chg="mod ord">
          <ac:chgData name="Matt Edwards" userId="743beebf-6b9a-4058-bd48-8c152c2503f6" providerId="ADAL" clId="{E77C93F7-CBDB-4DB4-8C5B-FC9F6DB3FC51}" dt="2025-04-16T11:50:32.778" v="7567" actId="164"/>
          <ac:spMkLst>
            <pc:docMk/>
            <pc:sldMk cId="1198885967" sldId="2147473508"/>
            <ac:spMk id="44" creationId="{DF1A19E4-F852-5096-B3A2-F9F862045971}"/>
          </ac:spMkLst>
        </pc:spChg>
        <pc:grpChg chg="mod ord">
          <ac:chgData name="Matt Edwards" userId="743beebf-6b9a-4058-bd48-8c152c2503f6" providerId="ADAL" clId="{E77C93F7-CBDB-4DB4-8C5B-FC9F6DB3FC51}" dt="2025-04-16T11:56:13.898" v="7879"/>
          <ac:grpSpMkLst>
            <pc:docMk/>
            <pc:sldMk cId="1198885967" sldId="2147473508"/>
            <ac:grpSpMk id="13" creationId="{8F319775-7F8D-9216-5CB5-EE2A50F25F93}"/>
          </ac:grpSpMkLst>
        </pc:grpChg>
        <pc:grpChg chg="add mod ord">
          <ac:chgData name="Matt Edwards" userId="743beebf-6b9a-4058-bd48-8c152c2503f6" providerId="ADAL" clId="{E77C93F7-CBDB-4DB4-8C5B-FC9F6DB3FC51}" dt="2025-04-16T11:56:13.896" v="7875"/>
          <ac:grpSpMkLst>
            <pc:docMk/>
            <pc:sldMk cId="1198885967" sldId="2147473508"/>
            <ac:grpSpMk id="41" creationId="{8AA3A78D-7CB3-D5D8-2D10-2CA1D8D2A211}"/>
          </ac:grpSpMkLst>
        </pc:grpChg>
        <pc:grpChg chg="add mod ord">
          <ac:chgData name="Matt Edwards" userId="743beebf-6b9a-4058-bd48-8c152c2503f6" providerId="ADAL" clId="{E77C93F7-CBDB-4DB4-8C5B-FC9F6DB3FC51}" dt="2025-04-16T11:56:13.893" v="7871"/>
          <ac:grpSpMkLst>
            <pc:docMk/>
            <pc:sldMk cId="1198885967" sldId="2147473508"/>
            <ac:grpSpMk id="51" creationId="{FF798DFF-0829-6103-8903-D720690E0F99}"/>
          </ac:grpSpMkLst>
        </pc:grpChg>
        <pc:graphicFrameChg chg="add mod ord modVis">
          <ac:chgData name="Matt Edwards" userId="743beebf-6b9a-4058-bd48-8c152c2503f6" providerId="ADAL" clId="{E77C93F7-CBDB-4DB4-8C5B-FC9F6DB3FC51}" dt="2025-04-16T11:56:13.900" v="7881"/>
          <ac:graphicFrameMkLst>
            <pc:docMk/>
            <pc:sldMk cId="1198885967" sldId="2147473508"/>
            <ac:graphicFrameMk id="4" creationId="{3CE0D41A-7927-042C-5877-29CBF04B60B1}"/>
          </ac:graphicFrameMkLst>
        </pc:graphicFrameChg>
        <pc:picChg chg="mod ord">
          <ac:chgData name="Matt Edwards" userId="743beebf-6b9a-4058-bd48-8c152c2503f6" providerId="ADAL" clId="{E77C93F7-CBDB-4DB4-8C5B-FC9F6DB3FC51}" dt="2025-04-15T18:22:49.875" v="7490"/>
          <ac:picMkLst>
            <pc:docMk/>
            <pc:sldMk cId="1198885967" sldId="2147473508"/>
            <ac:picMk id="8" creationId="{294D22CD-2DED-C556-4FBC-B3385A8AD88C}"/>
          </ac:picMkLst>
        </pc:picChg>
        <pc:picChg chg="mod ord">
          <ac:chgData name="Matt Edwards" userId="743beebf-6b9a-4058-bd48-8c152c2503f6" providerId="ADAL" clId="{E77C93F7-CBDB-4DB4-8C5B-FC9F6DB3FC51}" dt="2025-04-16T11:50:32.778" v="7567" actId="164"/>
          <ac:picMkLst>
            <pc:docMk/>
            <pc:sldMk cId="1198885967" sldId="2147473508"/>
            <ac:picMk id="10" creationId="{0B56468D-ABC5-C14B-7C7F-A764993D33D7}"/>
          </ac:picMkLst>
        </pc:picChg>
        <pc:picChg chg="mod ord">
          <ac:chgData name="Matt Edwards" userId="743beebf-6b9a-4058-bd48-8c152c2503f6" providerId="ADAL" clId="{E77C93F7-CBDB-4DB4-8C5B-FC9F6DB3FC51}" dt="2025-04-16T11:50:32.778" v="7567" actId="164"/>
          <ac:picMkLst>
            <pc:docMk/>
            <pc:sldMk cId="1198885967" sldId="2147473508"/>
            <ac:picMk id="11" creationId="{D770BB43-1693-1726-8E64-FB4F983CDFB0}"/>
          </ac:picMkLst>
        </pc:picChg>
        <pc:picChg chg="mod ord">
          <ac:chgData name="Matt Edwards" userId="743beebf-6b9a-4058-bd48-8c152c2503f6" providerId="ADAL" clId="{E77C93F7-CBDB-4DB4-8C5B-FC9F6DB3FC51}" dt="2025-04-15T18:22:49.878" v="7498"/>
          <ac:picMkLst>
            <pc:docMk/>
            <pc:sldMk cId="1198885967" sldId="2147473508"/>
            <ac:picMk id="15" creationId="{B161DBEA-81C5-DF21-7A8A-DE080247522B}"/>
          </ac:picMkLst>
        </pc:picChg>
        <pc:picChg chg="mod ord">
          <ac:chgData name="Matt Edwards" userId="743beebf-6b9a-4058-bd48-8c152c2503f6" providerId="ADAL" clId="{E77C93F7-CBDB-4DB4-8C5B-FC9F6DB3FC51}" dt="2025-04-16T11:50:32.778" v="7567" actId="164"/>
          <ac:picMkLst>
            <pc:docMk/>
            <pc:sldMk cId="1198885967" sldId="2147473508"/>
            <ac:picMk id="16" creationId="{5C2AB1B7-3E2B-A59C-C48D-91B1BEE430A7}"/>
          </ac:picMkLst>
        </pc:picChg>
        <pc:picChg chg="mod ord">
          <ac:chgData name="Matt Edwards" userId="743beebf-6b9a-4058-bd48-8c152c2503f6" providerId="ADAL" clId="{E77C93F7-CBDB-4DB4-8C5B-FC9F6DB3FC51}" dt="2025-04-15T18:22:49.880" v="7502"/>
          <ac:picMkLst>
            <pc:docMk/>
            <pc:sldMk cId="1198885967" sldId="2147473508"/>
            <ac:picMk id="18" creationId="{3CFBFBE5-7C9A-ACEC-890A-946DB4F36522}"/>
          </ac:picMkLst>
        </pc:picChg>
        <pc:picChg chg="mod ord">
          <ac:chgData name="Matt Edwards" userId="743beebf-6b9a-4058-bd48-8c152c2503f6" providerId="ADAL" clId="{E77C93F7-CBDB-4DB4-8C5B-FC9F6DB3FC51}" dt="2025-04-15T18:22:49.884" v="7510"/>
          <ac:picMkLst>
            <pc:docMk/>
            <pc:sldMk cId="1198885967" sldId="2147473508"/>
            <ac:picMk id="23" creationId="{DA1FD3EB-967E-768E-AFBD-2C572E94948A}"/>
          </ac:picMkLst>
        </pc:picChg>
        <pc:picChg chg="mod ord">
          <ac:chgData name="Matt Edwards" userId="743beebf-6b9a-4058-bd48-8c152c2503f6" providerId="ADAL" clId="{E77C93F7-CBDB-4DB4-8C5B-FC9F6DB3FC51}" dt="2025-04-15T18:22:49.885" v="7512"/>
          <ac:picMkLst>
            <pc:docMk/>
            <pc:sldMk cId="1198885967" sldId="2147473508"/>
            <ac:picMk id="24" creationId="{93D41541-7474-3F8D-D5B4-1ABCB166BDD9}"/>
          </ac:picMkLst>
        </pc:picChg>
        <pc:picChg chg="mod ord">
          <ac:chgData name="Matt Edwards" userId="743beebf-6b9a-4058-bd48-8c152c2503f6" providerId="ADAL" clId="{E77C93F7-CBDB-4DB4-8C5B-FC9F6DB3FC51}" dt="2025-04-15T18:22:49.887" v="7514"/>
          <ac:picMkLst>
            <pc:docMk/>
            <pc:sldMk cId="1198885967" sldId="2147473508"/>
            <ac:picMk id="25" creationId="{214CDF6A-32BC-C314-6D08-B97FDC77E894}"/>
          </ac:picMkLst>
        </pc:picChg>
        <pc:picChg chg="mod ord">
          <ac:chgData name="Matt Edwards" userId="743beebf-6b9a-4058-bd48-8c152c2503f6" providerId="ADAL" clId="{E77C93F7-CBDB-4DB4-8C5B-FC9F6DB3FC51}" dt="2025-04-16T11:50:47.841" v="7570" actId="164"/>
          <ac:picMkLst>
            <pc:docMk/>
            <pc:sldMk cId="1198885967" sldId="2147473508"/>
            <ac:picMk id="29" creationId="{F929F62E-83B3-676A-CB94-D52229F08B7B}"/>
          </ac:picMkLst>
        </pc:picChg>
        <pc:picChg chg="mod ord">
          <ac:chgData name="Matt Edwards" userId="743beebf-6b9a-4058-bd48-8c152c2503f6" providerId="ADAL" clId="{E77C93F7-CBDB-4DB4-8C5B-FC9F6DB3FC51}" dt="2025-04-16T11:50:47.841" v="7570" actId="164"/>
          <ac:picMkLst>
            <pc:docMk/>
            <pc:sldMk cId="1198885967" sldId="2147473508"/>
            <ac:picMk id="31" creationId="{E5A92D26-A8CF-D681-00A0-C98738B8E980}"/>
          </ac:picMkLst>
        </pc:picChg>
        <pc:picChg chg="mod ord">
          <ac:chgData name="Matt Edwards" userId="743beebf-6b9a-4058-bd48-8c152c2503f6" providerId="ADAL" clId="{E77C93F7-CBDB-4DB4-8C5B-FC9F6DB3FC51}" dt="2025-04-16T11:50:47.841" v="7570" actId="164"/>
          <ac:picMkLst>
            <pc:docMk/>
            <pc:sldMk cId="1198885967" sldId="2147473508"/>
            <ac:picMk id="32" creationId="{383EBCEC-1270-385B-9505-6EF2C7D90EBA}"/>
          </ac:picMkLst>
        </pc:picChg>
        <pc:picChg chg="mod ord">
          <ac:chgData name="Matt Edwards" userId="743beebf-6b9a-4058-bd48-8c152c2503f6" providerId="ADAL" clId="{E77C93F7-CBDB-4DB4-8C5B-FC9F6DB3FC51}" dt="2025-04-16T11:50:47.841" v="7570" actId="164"/>
          <ac:picMkLst>
            <pc:docMk/>
            <pc:sldMk cId="1198885967" sldId="2147473508"/>
            <ac:picMk id="33" creationId="{0A23191E-065F-8B73-6AD8-5B398F97292C}"/>
          </ac:picMkLst>
        </pc:picChg>
        <pc:picChg chg="mod ord">
          <ac:chgData name="Matt Edwards" userId="743beebf-6b9a-4058-bd48-8c152c2503f6" providerId="ADAL" clId="{E77C93F7-CBDB-4DB4-8C5B-FC9F6DB3FC51}" dt="2025-04-16T11:50:47.841" v="7570" actId="164"/>
          <ac:picMkLst>
            <pc:docMk/>
            <pc:sldMk cId="1198885967" sldId="2147473508"/>
            <ac:picMk id="35" creationId="{7EBE9851-359C-7E1C-2B69-0C073C87DF52}"/>
          </ac:picMkLst>
        </pc:picChg>
        <pc:picChg chg="mod ord">
          <ac:chgData name="Matt Edwards" userId="743beebf-6b9a-4058-bd48-8c152c2503f6" providerId="ADAL" clId="{E77C93F7-CBDB-4DB4-8C5B-FC9F6DB3FC51}" dt="2025-04-16T11:56:13.897" v="7877"/>
          <ac:picMkLst>
            <pc:docMk/>
            <pc:sldMk cId="1198885967" sldId="2147473508"/>
            <ac:picMk id="38" creationId="{F5ADDAD3-A628-F37A-E8ED-1855CA5C7F67}"/>
          </ac:picMkLst>
        </pc:picChg>
        <pc:picChg chg="mod ord modCrop">
          <ac:chgData name="Matt Edwards" userId="743beebf-6b9a-4058-bd48-8c152c2503f6" providerId="ADAL" clId="{E77C93F7-CBDB-4DB4-8C5B-FC9F6DB3FC51}" dt="2025-04-16T11:55:52.250" v="7841" actId="164"/>
          <ac:picMkLst>
            <pc:docMk/>
            <pc:sldMk cId="1198885967" sldId="2147473508"/>
            <ac:picMk id="39" creationId="{8493811A-0799-C0B1-097C-C1123091BDF5}"/>
          </ac:picMkLst>
        </pc:picChg>
        <pc:picChg chg="mod ord modCrop">
          <ac:chgData name="Matt Edwards" userId="743beebf-6b9a-4058-bd48-8c152c2503f6" providerId="ADAL" clId="{E77C93F7-CBDB-4DB4-8C5B-FC9F6DB3FC51}" dt="2025-04-16T11:55:52.250" v="7841" actId="164"/>
          <ac:picMkLst>
            <pc:docMk/>
            <pc:sldMk cId="1198885967" sldId="2147473508"/>
            <ac:picMk id="40" creationId="{7926E946-8FE4-2329-3BAA-4C4CF4B13664}"/>
          </ac:picMkLst>
        </pc:picChg>
        <pc:picChg chg="add mod">
          <ac:chgData name="Matt Edwards" userId="743beebf-6b9a-4058-bd48-8c152c2503f6" providerId="ADAL" clId="{E77C93F7-CBDB-4DB4-8C5B-FC9F6DB3FC51}" dt="2025-04-16T13:06:34.396" v="8211"/>
          <ac:picMkLst>
            <pc:docMk/>
            <pc:sldMk cId="1198885967" sldId="2147473508"/>
            <ac:picMk id="52" creationId="{12502D91-5B25-E2A5-DB29-1EEE96C9BDCB}"/>
          </ac:picMkLst>
        </pc:picChg>
        <pc:picChg chg="add mod">
          <ac:chgData name="Matt Edwards" userId="743beebf-6b9a-4058-bd48-8c152c2503f6" providerId="ADAL" clId="{E77C93F7-CBDB-4DB4-8C5B-FC9F6DB3FC51}" dt="2025-04-16T13:15:19.400" v="8582"/>
          <ac:picMkLst>
            <pc:docMk/>
            <pc:sldMk cId="1198885967" sldId="2147473508"/>
            <ac:picMk id="53" creationId="{7BD82374-A746-8AD7-F11F-ADA762FD03A8}"/>
          </ac:picMkLst>
        </pc:picChg>
      </pc:sldChg>
      <pc:sldChg chg="addSp delSp modSp new mod ord modNotesTx">
        <pc:chgData name="Matt Edwards" userId="743beebf-6b9a-4058-bd48-8c152c2503f6" providerId="ADAL" clId="{E77C93F7-CBDB-4DB4-8C5B-FC9F6DB3FC51}" dt="2025-04-17T13:19:25.038" v="9038" actId="20577"/>
        <pc:sldMkLst>
          <pc:docMk/>
          <pc:sldMk cId="211770327" sldId="2147473509"/>
        </pc:sldMkLst>
        <pc:spChg chg="mod">
          <ac:chgData name="Matt Edwards" userId="743beebf-6b9a-4058-bd48-8c152c2503f6" providerId="ADAL" clId="{E77C93F7-CBDB-4DB4-8C5B-FC9F6DB3FC51}" dt="2025-04-10T15:43:29.824" v="3382" actId="948"/>
          <ac:spMkLst>
            <pc:docMk/>
            <pc:sldMk cId="211770327" sldId="2147473509"/>
            <ac:spMk id="2" creationId="{D1C99141-5382-5DE1-E5D7-AC0317E6D207}"/>
          </ac:spMkLst>
        </pc:spChg>
        <pc:spChg chg="add mod">
          <ac:chgData name="Matt Edwards" userId="743beebf-6b9a-4058-bd48-8c152c2503f6" providerId="ADAL" clId="{E77C93F7-CBDB-4DB4-8C5B-FC9F6DB3FC51}" dt="2025-04-09T16:34:03.577" v="2522" actId="20577"/>
          <ac:spMkLst>
            <pc:docMk/>
            <pc:sldMk cId="211770327" sldId="2147473509"/>
            <ac:spMk id="14" creationId="{ECF1E6B9-B1F1-A564-91C2-A22606A8E54F}"/>
          </ac:spMkLst>
        </pc:spChg>
        <pc:spChg chg="add mod">
          <ac:chgData name="Matt Edwards" userId="743beebf-6b9a-4058-bd48-8c152c2503f6" providerId="ADAL" clId="{E77C93F7-CBDB-4DB4-8C5B-FC9F6DB3FC51}" dt="2025-04-16T13:17:14.993" v="8634" actId="20577"/>
          <ac:spMkLst>
            <pc:docMk/>
            <pc:sldMk cId="211770327" sldId="2147473509"/>
            <ac:spMk id="15" creationId="{A5148C8B-6143-0CB6-E26D-5BD802895182}"/>
          </ac:spMkLst>
        </pc:spChg>
        <pc:grpChg chg="add mod">
          <ac:chgData name="Matt Edwards" userId="743beebf-6b9a-4058-bd48-8c152c2503f6" providerId="ADAL" clId="{E77C93F7-CBDB-4DB4-8C5B-FC9F6DB3FC51}" dt="2025-04-09T16:32:28.328" v="2336" actId="1076"/>
          <ac:grpSpMkLst>
            <pc:docMk/>
            <pc:sldMk cId="211770327" sldId="2147473509"/>
            <ac:grpSpMk id="11" creationId="{FDBB904B-3832-47F9-E718-2E2158CE57B9}"/>
          </ac:grpSpMkLst>
        </pc:grpChg>
        <pc:graphicFrameChg chg="add mod ord modVis">
          <ac:chgData name="Matt Edwards" userId="743beebf-6b9a-4058-bd48-8c152c2503f6" providerId="ADAL" clId="{E77C93F7-CBDB-4DB4-8C5B-FC9F6DB3FC51}" dt="2025-04-10T15:43:29.863" v="3406"/>
          <ac:graphicFrameMkLst>
            <pc:docMk/>
            <pc:sldMk cId="211770327" sldId="2147473509"/>
            <ac:graphicFrameMk id="4" creationId="{575D64F2-6E12-BEA1-1262-816639F969FC}"/>
          </ac:graphicFrameMkLst>
        </pc:graphicFrameChg>
        <pc:graphicFrameChg chg="add mod">
          <ac:chgData name="Matt Edwards" userId="743beebf-6b9a-4058-bd48-8c152c2503f6" providerId="ADAL" clId="{E77C93F7-CBDB-4DB4-8C5B-FC9F6DB3FC51}" dt="2025-04-09T16:32:19.114" v="2334" actId="164"/>
          <ac:graphicFrameMkLst>
            <pc:docMk/>
            <pc:sldMk cId="211770327" sldId="2147473509"/>
            <ac:graphicFrameMk id="7" creationId="{FE063DF7-02FD-0C4F-A83D-1A304ED3791F}"/>
          </ac:graphicFrameMkLst>
        </pc:graphicFrameChg>
        <pc:graphicFrameChg chg="add mod">
          <ac:chgData name="Matt Edwards" userId="743beebf-6b9a-4058-bd48-8c152c2503f6" providerId="ADAL" clId="{E77C93F7-CBDB-4DB4-8C5B-FC9F6DB3FC51}" dt="2025-04-09T16:32:19.114" v="2334" actId="164"/>
          <ac:graphicFrameMkLst>
            <pc:docMk/>
            <pc:sldMk cId="211770327" sldId="2147473509"/>
            <ac:graphicFrameMk id="8" creationId="{B6378CCB-AE83-9450-E8C7-6F76A6CBB064}"/>
          </ac:graphicFrameMkLst>
        </pc:graphicFrameChg>
        <pc:graphicFrameChg chg="add mod">
          <ac:chgData name="Matt Edwards" userId="743beebf-6b9a-4058-bd48-8c152c2503f6" providerId="ADAL" clId="{E77C93F7-CBDB-4DB4-8C5B-FC9F6DB3FC51}" dt="2025-04-09T16:32:19.114" v="2334" actId="164"/>
          <ac:graphicFrameMkLst>
            <pc:docMk/>
            <pc:sldMk cId="211770327" sldId="2147473509"/>
            <ac:graphicFrameMk id="9" creationId="{8783395B-5EA9-F5C1-49AB-73669A08BABF}"/>
          </ac:graphicFrameMkLst>
        </pc:graphicFrameChg>
        <pc:graphicFrameChg chg="add mod">
          <ac:chgData name="Matt Edwards" userId="743beebf-6b9a-4058-bd48-8c152c2503f6" providerId="ADAL" clId="{E77C93F7-CBDB-4DB4-8C5B-FC9F6DB3FC51}" dt="2025-04-09T16:32:19.114" v="2334" actId="164"/>
          <ac:graphicFrameMkLst>
            <pc:docMk/>
            <pc:sldMk cId="211770327" sldId="2147473509"/>
            <ac:graphicFrameMk id="10" creationId="{A40CDFE4-D077-E6D2-C710-98E3E7C557D0}"/>
          </ac:graphicFrameMkLst>
        </pc:graphicFrameChg>
        <pc:picChg chg="add mod">
          <ac:chgData name="Matt Edwards" userId="743beebf-6b9a-4058-bd48-8c152c2503f6" providerId="ADAL" clId="{E77C93F7-CBDB-4DB4-8C5B-FC9F6DB3FC51}" dt="2025-04-16T13:06:32.891" v="8210"/>
          <ac:picMkLst>
            <pc:docMk/>
            <pc:sldMk cId="211770327" sldId="2147473509"/>
            <ac:picMk id="16" creationId="{25D58523-34EA-BFD2-2251-02BECECCEE51}"/>
          </ac:picMkLst>
        </pc:picChg>
        <pc:picChg chg="add mod">
          <ac:chgData name="Matt Edwards" userId="743beebf-6b9a-4058-bd48-8c152c2503f6" providerId="ADAL" clId="{E77C93F7-CBDB-4DB4-8C5B-FC9F6DB3FC51}" dt="2025-04-16T13:15:18.063" v="8581"/>
          <ac:picMkLst>
            <pc:docMk/>
            <pc:sldMk cId="211770327" sldId="2147473509"/>
            <ac:picMk id="17" creationId="{867F128D-1364-EC38-4C77-00165D14E585}"/>
          </ac:picMkLst>
        </pc:picChg>
      </pc:sldChg>
      <pc:sldChg chg="add del">
        <pc:chgData name="Matt Edwards" userId="743beebf-6b9a-4058-bd48-8c152c2503f6" providerId="ADAL" clId="{E77C93F7-CBDB-4DB4-8C5B-FC9F6DB3FC51}" dt="2025-04-11T18:07:16.413" v="3559"/>
        <pc:sldMkLst>
          <pc:docMk/>
          <pc:sldMk cId="3682067212" sldId="2147473510"/>
        </pc:sldMkLst>
      </pc:sldChg>
      <pc:sldChg chg="addSp modSp add mod ord">
        <pc:chgData name="Matt Edwards" userId="743beebf-6b9a-4058-bd48-8c152c2503f6" providerId="ADAL" clId="{E77C93F7-CBDB-4DB4-8C5B-FC9F6DB3FC51}" dt="2025-04-15T14:18:45.123" v="6706" actId="164"/>
        <pc:sldMkLst>
          <pc:docMk/>
          <pc:sldMk cId="4042692367" sldId="2147473510"/>
        </pc:sldMkLst>
      </pc:sldChg>
      <pc:sldChg chg="modSp new del mod">
        <pc:chgData name="Matt Edwards" userId="743beebf-6b9a-4058-bd48-8c152c2503f6" providerId="ADAL" clId="{E77C93F7-CBDB-4DB4-8C5B-FC9F6DB3FC51}" dt="2025-04-14T12:58:02.943" v="4184" actId="47"/>
        <pc:sldMkLst>
          <pc:docMk/>
          <pc:sldMk cId="1092260789" sldId="2147473511"/>
        </pc:sldMkLst>
      </pc:sldChg>
      <pc:sldChg chg="new del">
        <pc:chgData name="Matt Edwards" userId="743beebf-6b9a-4058-bd48-8c152c2503f6" providerId="ADAL" clId="{E77C93F7-CBDB-4DB4-8C5B-FC9F6DB3FC51}" dt="2025-04-11T18:24:55.959" v="4101" actId="47"/>
        <pc:sldMkLst>
          <pc:docMk/>
          <pc:sldMk cId="2413661340" sldId="2147473511"/>
        </pc:sldMkLst>
      </pc:sldChg>
      <pc:sldChg chg="addSp delSp modSp new mod">
        <pc:chgData name="Matt Edwards" userId="743beebf-6b9a-4058-bd48-8c152c2503f6" providerId="ADAL" clId="{E77C93F7-CBDB-4DB4-8C5B-FC9F6DB3FC51}" dt="2025-04-17T13:06:01.536" v="8780" actId="1076"/>
        <pc:sldMkLst>
          <pc:docMk/>
          <pc:sldMk cId="3684965866" sldId="2147473511"/>
        </pc:sldMkLst>
        <pc:spChg chg="mod">
          <ac:chgData name="Matt Edwards" userId="743beebf-6b9a-4058-bd48-8c152c2503f6" providerId="ADAL" clId="{E77C93F7-CBDB-4DB4-8C5B-FC9F6DB3FC51}" dt="2025-04-15T12:35:01.816" v="4753" actId="948"/>
          <ac:spMkLst>
            <pc:docMk/>
            <pc:sldMk cId="3684965866" sldId="2147473511"/>
            <ac:spMk id="2" creationId="{AA3221C7-DD0B-E7C5-CF07-0F197678940E}"/>
          </ac:spMkLst>
        </pc:spChg>
        <pc:spChg chg="mod">
          <ac:chgData name="Matt Edwards" userId="743beebf-6b9a-4058-bd48-8c152c2503f6" providerId="ADAL" clId="{E77C93F7-CBDB-4DB4-8C5B-FC9F6DB3FC51}" dt="2025-04-17T13:06:01.536" v="8780" actId="1076"/>
          <ac:spMkLst>
            <pc:docMk/>
            <pc:sldMk cId="3684965866" sldId="2147473511"/>
            <ac:spMk id="3" creationId="{7CA9FCAE-4DB7-AD4B-FB08-F03A25917BCE}"/>
          </ac:spMkLst>
        </pc:spChg>
        <pc:spChg chg="add mod topLvl">
          <ac:chgData name="Matt Edwards" userId="743beebf-6b9a-4058-bd48-8c152c2503f6" providerId="ADAL" clId="{E77C93F7-CBDB-4DB4-8C5B-FC9F6DB3FC51}" dt="2025-04-16T13:13:21.598" v="8506" actId="478"/>
          <ac:spMkLst>
            <pc:docMk/>
            <pc:sldMk cId="3684965866" sldId="2147473511"/>
            <ac:spMk id="19" creationId="{FD23EA19-F0DE-5C6C-0794-4BD8099C75C8}"/>
          </ac:spMkLst>
        </pc:spChg>
        <pc:spChg chg="add mod">
          <ac:chgData name="Matt Edwards" userId="743beebf-6b9a-4058-bd48-8c152c2503f6" providerId="ADAL" clId="{E77C93F7-CBDB-4DB4-8C5B-FC9F6DB3FC51}" dt="2025-04-15T12:42:43.075" v="5012" actId="1076"/>
          <ac:spMkLst>
            <pc:docMk/>
            <pc:sldMk cId="3684965866" sldId="2147473511"/>
            <ac:spMk id="21" creationId="{59C99D0D-2D46-4681-CF7B-2A2E99BAB404}"/>
          </ac:spMkLst>
        </pc:spChg>
        <pc:graphicFrameChg chg="add mod ord modVis">
          <ac:chgData name="Matt Edwards" userId="743beebf-6b9a-4058-bd48-8c152c2503f6" providerId="ADAL" clId="{E77C93F7-CBDB-4DB4-8C5B-FC9F6DB3FC51}" dt="2025-04-15T12:35:01.846" v="4777"/>
          <ac:graphicFrameMkLst>
            <pc:docMk/>
            <pc:sldMk cId="3684965866" sldId="2147473511"/>
            <ac:graphicFrameMk id="4" creationId="{500C930A-1228-3C97-05E8-45FC9A131544}"/>
          </ac:graphicFrameMkLst>
        </pc:graphicFrameChg>
        <pc:picChg chg="add mod">
          <ac:chgData name="Matt Edwards" userId="743beebf-6b9a-4058-bd48-8c152c2503f6" providerId="ADAL" clId="{E77C93F7-CBDB-4DB4-8C5B-FC9F6DB3FC51}" dt="2025-04-16T13:13:37.486" v="8510" actId="1076"/>
          <ac:picMkLst>
            <pc:docMk/>
            <pc:sldMk cId="3684965866" sldId="2147473511"/>
            <ac:picMk id="23" creationId="{B54C04FB-70BC-B51C-6C89-D4690B4D87F8}"/>
          </ac:picMkLst>
        </pc:picChg>
        <pc:picChg chg="add mod">
          <ac:chgData name="Matt Edwards" userId="743beebf-6b9a-4058-bd48-8c152c2503f6" providerId="ADAL" clId="{E77C93F7-CBDB-4DB4-8C5B-FC9F6DB3FC51}" dt="2025-04-16T13:15:30.252" v="8586" actId="1036"/>
          <ac:picMkLst>
            <pc:docMk/>
            <pc:sldMk cId="3684965866" sldId="2147473511"/>
            <ac:picMk id="24" creationId="{27958EB7-F4F4-3E16-0314-3A1E2A4D1576}"/>
          </ac:picMkLst>
        </pc:picChg>
      </pc:sldChg>
      <pc:sldChg chg="add del">
        <pc:chgData name="Matt Edwards" userId="743beebf-6b9a-4058-bd48-8c152c2503f6" providerId="ADAL" clId="{E77C93F7-CBDB-4DB4-8C5B-FC9F6DB3FC51}" dt="2025-04-11T18:23:59.034" v="4055" actId="47"/>
        <pc:sldMkLst>
          <pc:docMk/>
          <pc:sldMk cId="3873259306" sldId="2147473511"/>
        </pc:sldMkLst>
      </pc:sldChg>
      <pc:sldChg chg="addSp modSp add mod modNotesTx">
        <pc:chgData name="Matt Edwards" userId="743beebf-6b9a-4058-bd48-8c152c2503f6" providerId="ADAL" clId="{E77C93F7-CBDB-4DB4-8C5B-FC9F6DB3FC51}" dt="2025-04-17T13:12:09.402" v="8877" actId="20577"/>
        <pc:sldMkLst>
          <pc:docMk/>
          <pc:sldMk cId="2840292460" sldId="2147473512"/>
        </pc:sldMkLst>
        <pc:picChg chg="add mod">
          <ac:chgData name="Matt Edwards" userId="743beebf-6b9a-4058-bd48-8c152c2503f6" providerId="ADAL" clId="{E77C93F7-CBDB-4DB4-8C5B-FC9F6DB3FC51}" dt="2025-04-16T13:06:18.157" v="8206" actId="1076"/>
          <ac:picMkLst>
            <pc:docMk/>
            <pc:sldMk cId="2840292460" sldId="2147473512"/>
            <ac:picMk id="3" creationId="{C76D7369-279C-B20F-3E3E-4C7EACC9F84E}"/>
          </ac:picMkLst>
        </pc:picChg>
        <pc:picChg chg="add mod">
          <ac:chgData name="Matt Edwards" userId="743beebf-6b9a-4058-bd48-8c152c2503f6" providerId="ADAL" clId="{E77C93F7-CBDB-4DB4-8C5B-FC9F6DB3FC51}" dt="2025-04-16T13:15:13.388" v="8578"/>
          <ac:picMkLst>
            <pc:docMk/>
            <pc:sldMk cId="2840292460" sldId="2147473512"/>
            <ac:picMk id="5" creationId="{46DD393A-E0FD-01E9-0BBC-FDA7CCC24875}"/>
          </ac:picMkLst>
        </pc:picChg>
      </pc:sldChg>
      <pc:sldChg chg="addSp delSp modSp add mod">
        <pc:chgData name="Matt Edwards" userId="743beebf-6b9a-4058-bd48-8c152c2503f6" providerId="ADAL" clId="{E77C93F7-CBDB-4DB4-8C5B-FC9F6DB3FC51}" dt="2025-04-17T13:08:39.156" v="8856" actId="20577"/>
        <pc:sldMkLst>
          <pc:docMk/>
          <pc:sldMk cId="67748238" sldId="2147473513"/>
        </pc:sldMkLst>
        <pc:spChg chg="mod">
          <ac:chgData name="Matt Edwards" userId="743beebf-6b9a-4058-bd48-8c152c2503f6" providerId="ADAL" clId="{E77C93F7-CBDB-4DB4-8C5B-FC9F6DB3FC51}" dt="2025-04-16T12:57:30.159" v="8130" actId="948"/>
          <ac:spMkLst>
            <pc:docMk/>
            <pc:sldMk cId="67748238" sldId="2147473513"/>
            <ac:spMk id="2" creationId="{C4233BD3-83E8-2552-6D57-6C58176D1059}"/>
          </ac:spMkLst>
        </pc:spChg>
        <pc:spChg chg="mod">
          <ac:chgData name="Matt Edwards" userId="743beebf-6b9a-4058-bd48-8c152c2503f6" providerId="ADAL" clId="{E77C93F7-CBDB-4DB4-8C5B-FC9F6DB3FC51}" dt="2025-04-16T13:05:06.461" v="8191" actId="14100"/>
          <ac:spMkLst>
            <pc:docMk/>
            <pc:sldMk cId="67748238" sldId="2147473513"/>
            <ac:spMk id="40" creationId="{FEF60790-C65C-20E1-0F37-B741B5CDE6B2}"/>
          </ac:spMkLst>
        </pc:spChg>
        <pc:spChg chg="add mod">
          <ac:chgData name="Matt Edwards" userId="743beebf-6b9a-4058-bd48-8c152c2503f6" providerId="ADAL" clId="{E77C93F7-CBDB-4DB4-8C5B-FC9F6DB3FC51}" dt="2025-04-16T13:04:48.836" v="8187" actId="14100"/>
          <ac:spMkLst>
            <pc:docMk/>
            <pc:sldMk cId="67748238" sldId="2147473513"/>
            <ac:spMk id="59" creationId="{07FBF236-81F8-73A2-289B-D907B3868983}"/>
          </ac:spMkLst>
        </pc:spChg>
        <pc:spChg chg="add mod">
          <ac:chgData name="Matt Edwards" userId="743beebf-6b9a-4058-bd48-8c152c2503f6" providerId="ADAL" clId="{E77C93F7-CBDB-4DB4-8C5B-FC9F6DB3FC51}" dt="2025-04-17T13:07:48.480" v="8795" actId="1076"/>
          <ac:spMkLst>
            <pc:docMk/>
            <pc:sldMk cId="67748238" sldId="2147473513"/>
            <ac:spMk id="60" creationId="{E1FE40E4-686D-D0E6-49AD-0AB26103AAAB}"/>
          </ac:spMkLst>
        </pc:spChg>
        <pc:spChg chg="add mod">
          <ac:chgData name="Matt Edwards" userId="743beebf-6b9a-4058-bd48-8c152c2503f6" providerId="ADAL" clId="{E77C93F7-CBDB-4DB4-8C5B-FC9F6DB3FC51}" dt="2025-04-17T13:07:57.812" v="8796" actId="1076"/>
          <ac:spMkLst>
            <pc:docMk/>
            <pc:sldMk cId="67748238" sldId="2147473513"/>
            <ac:spMk id="61" creationId="{CED5BEB0-4DCF-9E85-13E2-0B762AF66CC7}"/>
          </ac:spMkLst>
        </pc:spChg>
        <pc:spChg chg="add mod">
          <ac:chgData name="Matt Edwards" userId="743beebf-6b9a-4058-bd48-8c152c2503f6" providerId="ADAL" clId="{E77C93F7-CBDB-4DB4-8C5B-FC9F6DB3FC51}" dt="2025-04-16T13:04:32.366" v="8185" actId="14100"/>
          <ac:spMkLst>
            <pc:docMk/>
            <pc:sldMk cId="67748238" sldId="2147473513"/>
            <ac:spMk id="62" creationId="{D54A941C-8EC5-3BF6-DD5F-8F84D18D7024}"/>
          </ac:spMkLst>
        </pc:spChg>
        <pc:spChg chg="add mod">
          <ac:chgData name="Matt Edwards" userId="743beebf-6b9a-4058-bd48-8c152c2503f6" providerId="ADAL" clId="{E77C93F7-CBDB-4DB4-8C5B-FC9F6DB3FC51}" dt="2025-04-16T13:05:51.640" v="8203" actId="208"/>
          <ac:spMkLst>
            <pc:docMk/>
            <pc:sldMk cId="67748238" sldId="2147473513"/>
            <ac:spMk id="63" creationId="{8B80A906-6B94-0C89-0212-3AC9530B32D2}"/>
          </ac:spMkLst>
        </pc:spChg>
        <pc:spChg chg="add mod">
          <ac:chgData name="Matt Edwards" userId="743beebf-6b9a-4058-bd48-8c152c2503f6" providerId="ADAL" clId="{E77C93F7-CBDB-4DB4-8C5B-FC9F6DB3FC51}" dt="2025-04-16T13:07:51.583" v="8247" actId="14100"/>
          <ac:spMkLst>
            <pc:docMk/>
            <pc:sldMk cId="67748238" sldId="2147473513"/>
            <ac:spMk id="64" creationId="{F0B9A793-363F-4BA2-9231-893F4AA1EAA6}"/>
          </ac:spMkLst>
        </pc:spChg>
        <pc:spChg chg="add mod">
          <ac:chgData name="Matt Edwards" userId="743beebf-6b9a-4058-bd48-8c152c2503f6" providerId="ADAL" clId="{E77C93F7-CBDB-4DB4-8C5B-FC9F6DB3FC51}" dt="2025-04-16T13:05:30.853" v="8197" actId="208"/>
          <ac:spMkLst>
            <pc:docMk/>
            <pc:sldMk cId="67748238" sldId="2147473513"/>
            <ac:spMk id="65" creationId="{68392E8E-61F4-8329-9455-2B3AFBEC2548}"/>
          </ac:spMkLst>
        </pc:spChg>
        <pc:spChg chg="add mod">
          <ac:chgData name="Matt Edwards" userId="743beebf-6b9a-4058-bd48-8c152c2503f6" providerId="ADAL" clId="{E77C93F7-CBDB-4DB4-8C5B-FC9F6DB3FC51}" dt="2025-04-16T13:08:30.759" v="8316" actId="1076"/>
          <ac:spMkLst>
            <pc:docMk/>
            <pc:sldMk cId="67748238" sldId="2147473513"/>
            <ac:spMk id="66" creationId="{FBA7F7D1-F8D9-021D-B90B-A155284F1727}"/>
          </ac:spMkLst>
        </pc:spChg>
        <pc:spChg chg="add mod">
          <ac:chgData name="Matt Edwards" userId="743beebf-6b9a-4058-bd48-8c152c2503f6" providerId="ADAL" clId="{E77C93F7-CBDB-4DB4-8C5B-FC9F6DB3FC51}" dt="2025-04-16T13:07:35.615" v="8234" actId="1076"/>
          <ac:spMkLst>
            <pc:docMk/>
            <pc:sldMk cId="67748238" sldId="2147473513"/>
            <ac:spMk id="69" creationId="{A8D7EBB4-8691-D7F6-22D4-6A9BF2C8A3ED}"/>
          </ac:spMkLst>
        </pc:spChg>
        <pc:spChg chg="add mod">
          <ac:chgData name="Matt Edwards" userId="743beebf-6b9a-4058-bd48-8c152c2503f6" providerId="ADAL" clId="{E77C93F7-CBDB-4DB4-8C5B-FC9F6DB3FC51}" dt="2025-04-17T13:07:48.480" v="8795" actId="1076"/>
          <ac:spMkLst>
            <pc:docMk/>
            <pc:sldMk cId="67748238" sldId="2147473513"/>
            <ac:spMk id="70" creationId="{19B8F413-76F4-8D86-860D-1D3203A63F8C}"/>
          </ac:spMkLst>
        </pc:spChg>
        <pc:spChg chg="add mod">
          <ac:chgData name="Matt Edwards" userId="743beebf-6b9a-4058-bd48-8c152c2503f6" providerId="ADAL" clId="{E77C93F7-CBDB-4DB4-8C5B-FC9F6DB3FC51}" dt="2025-04-17T13:08:16.531" v="8807" actId="14100"/>
          <ac:spMkLst>
            <pc:docMk/>
            <pc:sldMk cId="67748238" sldId="2147473513"/>
            <ac:spMk id="71" creationId="{16A51467-C35A-AEA5-9B66-BC3A7B253E17}"/>
          </ac:spMkLst>
        </pc:spChg>
        <pc:spChg chg="add mod">
          <ac:chgData name="Matt Edwards" userId="743beebf-6b9a-4058-bd48-8c152c2503f6" providerId="ADAL" clId="{E77C93F7-CBDB-4DB4-8C5B-FC9F6DB3FC51}" dt="2025-04-17T13:08:39.156" v="8856" actId="20577"/>
          <ac:spMkLst>
            <pc:docMk/>
            <pc:sldMk cId="67748238" sldId="2147473513"/>
            <ac:spMk id="72" creationId="{DB85DF4D-FC7C-1CE0-B81E-36B2E9777EC5}"/>
          </ac:spMkLst>
        </pc:spChg>
        <pc:grpChg chg="mod">
          <ac:chgData name="Matt Edwards" userId="743beebf-6b9a-4058-bd48-8c152c2503f6" providerId="ADAL" clId="{E77C93F7-CBDB-4DB4-8C5B-FC9F6DB3FC51}" dt="2025-04-16T13:03:04.144" v="8164" actId="1076"/>
          <ac:grpSpMkLst>
            <pc:docMk/>
            <pc:sldMk cId="67748238" sldId="2147473513"/>
            <ac:grpSpMk id="38" creationId="{512F6D34-82F5-6EB3-EC02-BFF41414CD86}"/>
          </ac:grpSpMkLst>
        </pc:grpChg>
        <pc:graphicFrameChg chg="mod">
          <ac:chgData name="Matt Edwards" userId="743beebf-6b9a-4058-bd48-8c152c2503f6" providerId="ADAL" clId="{E77C93F7-CBDB-4DB4-8C5B-FC9F6DB3FC51}" dt="2025-04-16T12:57:30.190" v="8154"/>
          <ac:graphicFrameMkLst>
            <pc:docMk/>
            <pc:sldMk cId="67748238" sldId="2147473513"/>
            <ac:graphicFrameMk id="4" creationId="{00DC63B6-29B1-35F1-BFAF-CEDC15617EBD}"/>
          </ac:graphicFrameMkLst>
        </pc:graphicFrameChg>
        <pc:picChg chg="add mod">
          <ac:chgData name="Matt Edwards" userId="743beebf-6b9a-4058-bd48-8c152c2503f6" providerId="ADAL" clId="{E77C93F7-CBDB-4DB4-8C5B-FC9F6DB3FC51}" dt="2025-04-16T13:06:23.539" v="8207" actId="14100"/>
          <ac:picMkLst>
            <pc:docMk/>
            <pc:sldMk cId="67748238" sldId="2147473513"/>
            <ac:picMk id="37" creationId="{E0A5BA61-C6F8-93A1-C635-5DE6502EE0F1}"/>
          </ac:picMkLst>
        </pc:picChg>
        <pc:picChg chg="mod">
          <ac:chgData name="Matt Edwards" userId="743beebf-6b9a-4058-bd48-8c152c2503f6" providerId="ADAL" clId="{E77C93F7-CBDB-4DB4-8C5B-FC9F6DB3FC51}" dt="2025-04-16T13:02:56.707" v="8163"/>
          <ac:picMkLst>
            <pc:docMk/>
            <pc:sldMk cId="67748238" sldId="2147473513"/>
            <ac:picMk id="41" creationId="{C331A97C-7FC6-9826-0903-9EA43C91F44B}"/>
          </ac:picMkLst>
        </pc:picChg>
        <pc:picChg chg="mod">
          <ac:chgData name="Matt Edwards" userId="743beebf-6b9a-4058-bd48-8c152c2503f6" providerId="ADAL" clId="{E77C93F7-CBDB-4DB4-8C5B-FC9F6DB3FC51}" dt="2025-04-16T13:02:56.707" v="8163"/>
          <ac:picMkLst>
            <pc:docMk/>
            <pc:sldMk cId="67748238" sldId="2147473513"/>
            <ac:picMk id="43" creationId="{E1B865B5-4FA5-416F-DC36-3DF3DA31629D}"/>
          </ac:picMkLst>
        </pc:picChg>
        <pc:picChg chg="mod">
          <ac:chgData name="Matt Edwards" userId="743beebf-6b9a-4058-bd48-8c152c2503f6" providerId="ADAL" clId="{E77C93F7-CBDB-4DB4-8C5B-FC9F6DB3FC51}" dt="2025-04-16T13:02:56.707" v="8163"/>
          <ac:picMkLst>
            <pc:docMk/>
            <pc:sldMk cId="67748238" sldId="2147473513"/>
            <ac:picMk id="44" creationId="{50F5BD0D-3B73-732E-AB13-857E9F45BC10}"/>
          </ac:picMkLst>
        </pc:picChg>
        <pc:picChg chg="add del mod">
          <ac:chgData name="Matt Edwards" userId="743beebf-6b9a-4058-bd48-8c152c2503f6" providerId="ADAL" clId="{E77C93F7-CBDB-4DB4-8C5B-FC9F6DB3FC51}" dt="2025-04-16T13:05:43.684" v="8201" actId="478"/>
          <ac:picMkLst>
            <pc:docMk/>
            <pc:sldMk cId="67748238" sldId="2147473513"/>
            <ac:picMk id="48" creationId="{B7748EAC-705E-0A51-8126-A75426045A3B}"/>
          </ac:picMkLst>
        </pc:picChg>
        <pc:picChg chg="mod">
          <ac:chgData name="Matt Edwards" userId="743beebf-6b9a-4058-bd48-8c152c2503f6" providerId="ADAL" clId="{E77C93F7-CBDB-4DB4-8C5B-FC9F6DB3FC51}" dt="2025-04-16T13:02:56.707" v="8163"/>
          <ac:picMkLst>
            <pc:docMk/>
            <pc:sldMk cId="67748238" sldId="2147473513"/>
            <ac:picMk id="49" creationId="{7D9522FE-3C93-7138-56A2-2BD57C0F565A}"/>
          </ac:picMkLst>
        </pc:picChg>
        <pc:picChg chg="mod">
          <ac:chgData name="Matt Edwards" userId="743beebf-6b9a-4058-bd48-8c152c2503f6" providerId="ADAL" clId="{E77C93F7-CBDB-4DB4-8C5B-FC9F6DB3FC51}" dt="2025-04-16T13:02:56.707" v="8163"/>
          <ac:picMkLst>
            <pc:docMk/>
            <pc:sldMk cId="67748238" sldId="2147473513"/>
            <ac:picMk id="50" creationId="{553AC4CA-3F33-39BD-6236-AC7DCDE2D098}"/>
          </ac:picMkLst>
        </pc:picChg>
        <pc:picChg chg="mod">
          <ac:chgData name="Matt Edwards" userId="743beebf-6b9a-4058-bd48-8c152c2503f6" providerId="ADAL" clId="{E77C93F7-CBDB-4DB4-8C5B-FC9F6DB3FC51}" dt="2025-04-16T13:02:56.707" v="8163"/>
          <ac:picMkLst>
            <pc:docMk/>
            <pc:sldMk cId="67748238" sldId="2147473513"/>
            <ac:picMk id="56" creationId="{60FB49D0-3370-8886-1BED-C00863551D43}"/>
          </ac:picMkLst>
        </pc:picChg>
        <pc:picChg chg="mod">
          <ac:chgData name="Matt Edwards" userId="743beebf-6b9a-4058-bd48-8c152c2503f6" providerId="ADAL" clId="{E77C93F7-CBDB-4DB4-8C5B-FC9F6DB3FC51}" dt="2025-04-16T13:02:56.707" v="8163"/>
          <ac:picMkLst>
            <pc:docMk/>
            <pc:sldMk cId="67748238" sldId="2147473513"/>
            <ac:picMk id="57" creationId="{EFA94858-969D-389D-335E-8C4D7620A9D0}"/>
          </ac:picMkLst>
        </pc:picChg>
        <pc:picChg chg="mod">
          <ac:chgData name="Matt Edwards" userId="743beebf-6b9a-4058-bd48-8c152c2503f6" providerId="ADAL" clId="{E77C93F7-CBDB-4DB4-8C5B-FC9F6DB3FC51}" dt="2025-04-16T13:02:56.707" v="8163"/>
          <ac:picMkLst>
            <pc:docMk/>
            <pc:sldMk cId="67748238" sldId="2147473513"/>
            <ac:picMk id="58" creationId="{26901769-AF0A-252C-D5FC-26C51183A3DC}"/>
          </ac:picMkLst>
        </pc:picChg>
        <pc:picChg chg="add mod">
          <ac:chgData name="Matt Edwards" userId="743beebf-6b9a-4058-bd48-8c152c2503f6" providerId="ADAL" clId="{E77C93F7-CBDB-4DB4-8C5B-FC9F6DB3FC51}" dt="2025-04-16T13:15:09.337" v="8577" actId="1036"/>
          <ac:picMkLst>
            <pc:docMk/>
            <pc:sldMk cId="67748238" sldId="2147473513"/>
            <ac:picMk id="73" creationId="{23C65370-737B-FC1C-34C6-6DDD121A8EE6}"/>
          </ac:picMkLst>
        </pc:picChg>
      </pc:sldChg>
    </pc:docChg>
  </pc:docChgLst>
  <pc:docChgLst>
    <pc:chgData name="Matt Edwards" userId="S::medwards@affiniatx.com::743beebf-6b9a-4058-bd48-8c152c2503f6" providerId="AD" clId="Web-{33F19A0E-068E-6E78-9D56-B89443FE1972}"/>
    <pc:docChg chg="modSld">
      <pc:chgData name="Matt Edwards" userId="S::medwards@affiniatx.com::743beebf-6b9a-4058-bd48-8c152c2503f6" providerId="AD" clId="Web-{33F19A0E-068E-6E78-9D56-B89443FE1972}" dt="2025-05-05T15:40:12.904" v="208" actId="20577"/>
      <pc:docMkLst>
        <pc:docMk/>
      </pc:docMkLst>
      <pc:sldChg chg="modSp modCm">
        <pc:chgData name="Matt Edwards" userId="S::medwards@affiniatx.com::743beebf-6b9a-4058-bd48-8c152c2503f6" providerId="AD" clId="Web-{33F19A0E-068E-6E78-9D56-B89443FE1972}" dt="2025-05-05T15:13:32.589" v="26" actId="20577"/>
        <pc:sldMkLst>
          <pc:docMk/>
          <pc:sldMk cId="757225403" sldId="2147473506"/>
        </pc:sldMkLst>
        <pc:spChg chg="mod">
          <ac:chgData name="Matt Edwards" userId="S::medwards@affiniatx.com::743beebf-6b9a-4058-bd48-8c152c2503f6" providerId="AD" clId="Web-{33F19A0E-068E-6E78-9D56-B89443FE1972}" dt="2025-05-05T15:13:32.589" v="26" actId="20577"/>
          <ac:spMkLst>
            <pc:docMk/>
            <pc:sldMk cId="757225403" sldId="2147473506"/>
            <ac:spMk id="3" creationId="{AE2CB28A-053C-3F19-E678-7314FAC81813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Matt Edwards" userId="S::medwards@affiniatx.com::743beebf-6b9a-4058-bd48-8c152c2503f6" providerId="AD" clId="Web-{33F19A0E-068E-6E78-9D56-B89443FE1972}" dt="2025-05-05T15:13:31.246" v="25" actId="20577"/>
              <pc2:cmMkLst xmlns:pc2="http://schemas.microsoft.com/office/powerpoint/2019/9/main/command">
                <pc:docMk/>
                <pc:sldMk cId="757225403" sldId="2147473506"/>
                <pc2:cmMk id="{8A3294AB-8733-4BA8-9E69-F3D042702807}"/>
              </pc2:cmMkLst>
            </pc226:cmChg>
          </p:ext>
        </pc:extLst>
      </pc:sldChg>
      <pc:sldChg chg="modSp modCm">
        <pc:chgData name="Matt Edwards" userId="S::medwards@affiniatx.com::743beebf-6b9a-4058-bd48-8c152c2503f6" providerId="AD" clId="Web-{33F19A0E-068E-6E78-9D56-B89443FE1972}" dt="2025-05-05T15:40:12.904" v="208" actId="20577"/>
        <pc:sldMkLst>
          <pc:docMk/>
          <pc:sldMk cId="3684965866" sldId="2147473511"/>
        </pc:sldMkLst>
        <pc:spChg chg="mod">
          <ac:chgData name="Matt Edwards" userId="S::medwards@affiniatx.com::743beebf-6b9a-4058-bd48-8c152c2503f6" providerId="AD" clId="Web-{33F19A0E-068E-6E78-9D56-B89443FE1972}" dt="2025-05-05T15:40:12.904" v="208" actId="20577"/>
          <ac:spMkLst>
            <pc:docMk/>
            <pc:sldMk cId="3684965866" sldId="2147473511"/>
            <ac:spMk id="3" creationId="{7CA9FCAE-4DB7-AD4B-FB08-F03A25917BCE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Matt Edwards" userId="S::medwards@affiniatx.com::743beebf-6b9a-4058-bd48-8c152c2503f6" providerId="AD" clId="Web-{33F19A0E-068E-6E78-9D56-B89443FE1972}" dt="2025-05-05T15:40:04.669" v="207" actId="20577"/>
              <pc2:cmMkLst xmlns:pc2="http://schemas.microsoft.com/office/powerpoint/2019/9/main/command">
                <pc:docMk/>
                <pc:sldMk cId="3684965866" sldId="2147473511"/>
                <pc2:cmMk id="{17A5A9ED-0CC0-4840-833A-E0120B5E6954}"/>
              </pc2:cmMkLst>
            </pc226:cmChg>
          </p:ext>
        </pc:extLst>
      </pc:sldChg>
      <pc:sldChg chg="addSp modSp">
        <pc:chgData name="Matt Edwards" userId="S::medwards@affiniatx.com::743beebf-6b9a-4058-bd48-8c152c2503f6" providerId="AD" clId="Web-{33F19A0E-068E-6E78-9D56-B89443FE1972}" dt="2025-05-05T15:37:17.731" v="47" actId="1076"/>
        <pc:sldMkLst>
          <pc:docMk/>
          <pc:sldMk cId="2840292460" sldId="2147473512"/>
        </pc:sldMkLst>
        <pc:spChg chg="add mod">
          <ac:chgData name="Matt Edwards" userId="S::medwards@affiniatx.com::743beebf-6b9a-4058-bd48-8c152c2503f6" providerId="AD" clId="Web-{33F19A0E-068E-6E78-9D56-B89443FE1972}" dt="2025-05-05T15:37:17.731" v="47" actId="1076"/>
          <ac:spMkLst>
            <pc:docMk/>
            <pc:sldMk cId="2840292460" sldId="2147473512"/>
            <ac:spMk id="6" creationId="{C10AC1A3-7583-273A-DA36-8CDEE29D4796}"/>
          </ac:spMkLst>
        </pc:spChg>
        <pc:spChg chg="add mod">
          <ac:chgData name="Matt Edwards" userId="S::medwards@affiniatx.com::743beebf-6b9a-4058-bd48-8c152c2503f6" providerId="AD" clId="Web-{33F19A0E-068E-6E78-9D56-B89443FE1972}" dt="2025-05-05T15:37:14.622" v="46" actId="1076"/>
          <ac:spMkLst>
            <pc:docMk/>
            <pc:sldMk cId="2840292460" sldId="2147473512"/>
            <ac:spMk id="7" creationId="{B7244F80-8F59-5847-7A5E-B00BC94D879E}"/>
          </ac:spMkLst>
        </pc:spChg>
      </pc:sldChg>
      <pc:sldChg chg="modSp">
        <pc:chgData name="Matt Edwards" userId="S::medwards@affiniatx.com::743beebf-6b9a-4058-bd48-8c152c2503f6" providerId="AD" clId="Web-{33F19A0E-068E-6E78-9D56-B89443FE1972}" dt="2025-05-05T15:12:47.589" v="7" actId="20577"/>
        <pc:sldMkLst>
          <pc:docMk/>
          <pc:sldMk cId="67748238" sldId="2147473513"/>
        </pc:sldMkLst>
        <pc:spChg chg="mod">
          <ac:chgData name="Matt Edwards" userId="S::medwards@affiniatx.com::743beebf-6b9a-4058-bd48-8c152c2503f6" providerId="AD" clId="Web-{33F19A0E-068E-6E78-9D56-B89443FE1972}" dt="2025-05-05T15:12:47.589" v="7" actId="20577"/>
          <ac:spMkLst>
            <pc:docMk/>
            <pc:sldMk cId="67748238" sldId="2147473513"/>
            <ac:spMk id="66" creationId="{FBA7F7D1-F8D9-021D-B90B-A155284F1727}"/>
          </ac:spMkLst>
        </pc:spChg>
      </pc:sldChg>
    </pc:docChg>
  </pc:docChgLst>
  <pc:docChgLst>
    <pc:chgData name="Matt Edwards" userId="S::medwards@affiniatx.com::743beebf-6b9a-4058-bd48-8c152c2503f6" providerId="AD" clId="Web-{A5680CDE-7DCD-2EB6-E73C-521C51C5DA7A}"/>
    <pc:docChg chg="addSld delSld modSld">
      <pc:chgData name="Matt Edwards" userId="S::medwards@affiniatx.com::743beebf-6b9a-4058-bd48-8c152c2503f6" providerId="AD" clId="Web-{A5680CDE-7DCD-2EB6-E73C-521C51C5DA7A}" dt="2025-04-03T15:27:59.748" v="480" actId="20577"/>
      <pc:docMkLst>
        <pc:docMk/>
      </pc:docMkLst>
      <pc:sldChg chg="del">
        <pc:chgData name="Matt Edwards" userId="S::medwards@affiniatx.com::743beebf-6b9a-4058-bd48-8c152c2503f6" providerId="AD" clId="Web-{A5680CDE-7DCD-2EB6-E73C-521C51C5DA7A}" dt="2025-04-01T12:46:42.256" v="5"/>
        <pc:sldMkLst>
          <pc:docMk/>
          <pc:sldMk cId="2177841419" sldId="256"/>
        </pc:sldMkLst>
      </pc:sldChg>
      <pc:sldChg chg="modSp new">
        <pc:chgData name="Matt Edwards" userId="S::medwards@affiniatx.com::743beebf-6b9a-4058-bd48-8c152c2503f6" providerId="AD" clId="Web-{A5680CDE-7DCD-2EB6-E73C-521C51C5DA7A}" dt="2025-04-01T12:47:06.773" v="11" actId="20577"/>
        <pc:sldMkLst>
          <pc:docMk/>
          <pc:sldMk cId="3629574610" sldId="256"/>
        </pc:sldMkLst>
      </pc:sldChg>
      <pc:sldChg chg="del">
        <pc:chgData name="Matt Edwards" userId="S::medwards@affiniatx.com::743beebf-6b9a-4058-bd48-8c152c2503f6" providerId="AD" clId="Web-{A5680CDE-7DCD-2EB6-E73C-521C51C5DA7A}" dt="2025-04-01T12:46:42.256" v="4"/>
        <pc:sldMkLst>
          <pc:docMk/>
          <pc:sldMk cId="2107417057" sldId="257"/>
        </pc:sldMkLst>
      </pc:sldChg>
      <pc:sldChg chg="modSp new">
        <pc:chgData name="Matt Edwards" userId="S::medwards@affiniatx.com::743beebf-6b9a-4058-bd48-8c152c2503f6" providerId="AD" clId="Web-{A5680CDE-7DCD-2EB6-E73C-521C51C5DA7A}" dt="2025-04-03T15:27:59.748" v="480" actId="20577"/>
        <pc:sldMkLst>
          <pc:docMk/>
          <pc:sldMk cId="4144758856" sldId="257"/>
        </pc:sldMkLst>
      </pc:sldChg>
      <pc:sldChg chg="del">
        <pc:chgData name="Matt Edwards" userId="S::medwards@affiniatx.com::743beebf-6b9a-4058-bd48-8c152c2503f6" providerId="AD" clId="Web-{A5680CDE-7DCD-2EB6-E73C-521C51C5DA7A}" dt="2025-04-01T12:46:42.256" v="3"/>
        <pc:sldMkLst>
          <pc:docMk/>
          <pc:sldMk cId="2175346294" sldId="258"/>
        </pc:sldMkLst>
      </pc:sldChg>
      <pc:sldChg chg="del">
        <pc:chgData name="Matt Edwards" userId="S::medwards@affiniatx.com::743beebf-6b9a-4058-bd48-8c152c2503f6" providerId="AD" clId="Web-{A5680CDE-7DCD-2EB6-E73C-521C51C5DA7A}" dt="2025-04-01T12:46:42.256" v="2"/>
        <pc:sldMkLst>
          <pc:docMk/>
          <pc:sldMk cId="1022211843" sldId="259"/>
        </pc:sldMkLst>
      </pc:sldChg>
      <pc:sldChg chg="del">
        <pc:chgData name="Matt Edwards" userId="S::medwards@affiniatx.com::743beebf-6b9a-4058-bd48-8c152c2503f6" providerId="AD" clId="Web-{A5680CDE-7DCD-2EB6-E73C-521C51C5DA7A}" dt="2025-04-01T12:46:42.256" v="1"/>
        <pc:sldMkLst>
          <pc:docMk/>
          <pc:sldMk cId="2526814596" sldId="2147473738"/>
        </pc:sldMkLst>
      </pc:sldChg>
      <pc:sldChg chg="del">
        <pc:chgData name="Matt Edwards" userId="S::medwards@affiniatx.com::743beebf-6b9a-4058-bd48-8c152c2503f6" providerId="AD" clId="Web-{A5680CDE-7DCD-2EB6-E73C-521C51C5DA7A}" dt="2025-04-01T12:46:42.240" v="0"/>
        <pc:sldMkLst>
          <pc:docMk/>
          <pc:sldMk cId="1199674136" sldId="2147473767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Patient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0824-4BAD-AEF4-EB4FF7834F25}"/>
              </c:ext>
            </c:extLst>
          </c:dPt>
          <c:dPt>
            <c:idx val="1"/>
            <c:bubble3D val="0"/>
            <c:explosion val="3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6-0824-4BAD-AEF4-EB4FF7834F25}"/>
              </c:ext>
            </c:extLst>
          </c:dPt>
          <c:dPt>
            <c:idx val="2"/>
            <c:bubble3D val="0"/>
            <c:explosion val="1"/>
            <c:spPr>
              <a:solidFill>
                <a:schemeClr val="accent3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0824-4BAD-AEF4-EB4FF7834F25}"/>
              </c:ext>
            </c:extLst>
          </c:dPt>
          <c:dLbls>
            <c:dLbl>
              <c:idx val="0"/>
              <c:layout>
                <c:manualLayout>
                  <c:x val="-0.24808505094951366"/>
                  <c:y val="2.8610261047599093E-2"/>
                </c:manualLayout>
              </c:layout>
              <c:tx>
                <c:rich>
                  <a:bodyPr/>
                  <a:lstStyle/>
                  <a:p>
                    <a:r>
                      <a:rPr lang="en-US"/>
                      <a:t>US</a:t>
                    </a:r>
                  </a:p>
                  <a:p>
                    <a:fld id="{28CA6798-CAA5-4E63-8D0C-3C32523161DA}" type="VALUE">
                      <a:rPr lang="en-US" baseline="0" smtClean="0"/>
                      <a:pPr/>
                      <a:t>[VALUE]</a:t>
                    </a:fld>
                    <a:endParaRPr lang="en-US"/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0824-4BAD-AEF4-EB4FF7834F25}"/>
                </c:ext>
              </c:extLst>
            </c:dLbl>
            <c:dLbl>
              <c:idx val="1"/>
              <c:layout>
                <c:manualLayout>
                  <c:x val="0.27013639609387063"/>
                  <c:y val="-0.18673220629205015"/>
                </c:manualLayout>
              </c:layout>
              <c:tx>
                <c:rich>
                  <a:bodyPr/>
                  <a:lstStyle/>
                  <a:p>
                    <a:fld id="{A1BC9A19-7B7A-4327-8830-2F572DF98BCC}" type="CATEGORYNAME">
                      <a:rPr lang="en-US" smtClean="0"/>
                      <a:pPr/>
                      <a:t>[CATEGORY NAME]</a:t>
                    </a:fld>
                    <a:r>
                      <a:rPr lang="en-US" baseline="0"/>
                      <a:t> </a:t>
                    </a:r>
                  </a:p>
                  <a:p>
                    <a:fld id="{5625861D-CA48-49F9-9E1D-F83D67C8D7D1}" type="VALUE">
                      <a:rPr lang="en-US" baseline="0" smtClean="0"/>
                      <a:pPr/>
                      <a:t>[VALUE]</a:t>
                    </a:fld>
                    <a:endParaRPr lang="en-US"/>
                  </a:p>
                </c:rich>
              </c:tx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6-0824-4BAD-AEF4-EB4FF7834F25}"/>
                </c:ext>
              </c:extLst>
            </c:dLbl>
            <c:dLbl>
              <c:idx val="2"/>
              <c:layout>
                <c:manualLayout>
                  <c:x val="-0.24356883009109156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197" b="0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824-4BAD-AEF4-EB4FF7834F2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1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US</c:v>
                </c:pt>
                <c:pt idx="1">
                  <c:v>EUR</c:v>
                </c:pt>
                <c:pt idx="2">
                  <c:v>Other developed markets</c:v>
                </c:pt>
              </c:strCache>
            </c:strRef>
          </c:cat>
          <c:val>
            <c:numRef>
              <c:f>Sheet1!$B$2:$B$4</c:f>
              <c:numCache>
                <c:formatCode>#,##0</c:formatCode>
                <c:ptCount val="3"/>
                <c:pt idx="0">
                  <c:v>34000</c:v>
                </c:pt>
                <c:pt idx="1">
                  <c:v>37000</c:v>
                </c:pt>
                <c:pt idx="2">
                  <c:v>5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824-4BAD-AEF4-EB4FF7834F2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omments/modernComment_7FFFD860_9A23C0E2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F45C1ECB-D6D3-4A21-9573-CADBA6862BF8}" authorId="{EE2615EC-9074-469A-AB92-DA27669E5DAA}" status="resolved" created="2025-05-04T22:49:02.678" complete="100000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2586034402" sldId="2147473504"/>
      <ac:spMk id="2" creationId="{FF470B5A-2D5D-5E63-E1BF-C9F2104E4E29}"/>
      <ac:txMk cp="0" len="16">
        <ac:context len="55" hash="3807454136"/>
      </ac:txMk>
    </ac:txMkLst>
    <p188:pos x="3059176" y="243840"/>
    <p188:txBody>
      <a:bodyPr/>
      <a:lstStyle/>
      <a:p>
        <a:r>
          <a:rPr lang="en-US"/>
          <a:t>Suggest creating a title with a conclusion statement</a:t>
        </a:r>
      </a:p>
    </p188:txBody>
  </p188:cm>
</p188:cmLst>
</file>

<file path=ppt/comments/modernComment_7FFFD867_DBA41DEA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17A5A9ED-0CC0-4840-833A-E0120B5E6954}" authorId="{998545C5-1F1F-FF0F-E39A-FE4F4C735C88}" status="resolved" created="2025-05-04T13:57:12.103" complete="100000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3684965866" sldId="2147473511"/>
      <ac:spMk id="3" creationId="{7CA9FCAE-4DB7-AD4B-FB08-F03A25917BCE}"/>
      <ac:txMk cp="124">
        <ac:context len="486" hash="3774561844"/>
      </ac:txMk>
    </ac:txMkLst>
    <p188:pos x="2204621" y="1460673"/>
    <p188:txBody>
      <a:bodyPr/>
      <a:lstStyle/>
      <a:p>
        <a:r>
          <a:rPr lang="en-US"/>
          <a:t>I would change COGM to lower “Manufacturing costs”.  When  we specify COGM, it implies that we are looking at material, labor, manufacturing overhead, and change in WIP.  I haven’t see that type of calculation internally to suggest that we are tracking COGM.  To that end, I would change the term to a generic lower “manufacturing costs”</a:t>
        </a:r>
      </a:p>
    </p188:txBody>
  </p188:cm>
  <p188:cm id="{47BD67CC-F648-469E-A7F7-57A5FDD61B71}" authorId="{FA281C09-1964-2C3E-8767-8257508F3D5A}" status="resolved" created="2025-05-05T15:03:32.539" complete="100000">
    <pc:sldMkLst xmlns:pc="http://schemas.microsoft.com/office/powerpoint/2013/main/command">
      <pc:docMk/>
      <pc:sldMk cId="3684965866" sldId="2147473511"/>
    </pc:sldMkLst>
    <p188:txBody>
      <a:bodyPr/>
      <a:lstStyle/>
      <a:p>
        <a:r>
          <a:rPr lang="en-US"/>
          <a:t>[@Matt Edwards] not sure what “perform manufacturability” means?</a:t>
        </a:r>
      </a:p>
    </p188:txBody>
  </p188:cm>
  <p188:cm id="{5587F386-F52C-45AB-BDC9-25314BB5035F}" authorId="{FA281C09-1964-2C3E-8767-8257508F3D5A}" status="resolved" created="2025-05-05T15:04:28.567" complete="100000">
    <pc:sldMkLst xmlns:pc="http://schemas.microsoft.com/office/powerpoint/2013/main/command">
      <pc:docMk/>
      <pc:sldMk cId="3684965866" sldId="2147473511"/>
    </pc:sldMkLst>
    <p188:txBody>
      <a:bodyPr/>
      <a:lstStyle/>
      <a:p>
        <a:r>
          <a:rPr lang="en-US"/>
          <a:t>[@Matt Edwards] your sub-bullets have a mixture of verbs (perform) and nouns - typically just use one of the other</a:t>
        </a:r>
      </a:p>
    </p188:txBody>
  </p188:cm>
</p188:cmLst>
</file>

<file path=ppt/comments/modernComment_7FFFD868_A94B6C6C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1E4CC2AB-0C71-4507-A80A-E623669F19AA}" authorId="{FA281C09-1964-2C3E-8767-8257508F3D5A}" status="resolved" created="2025-05-05T15:05:55.374" complete="100000">
    <pc:sldMkLst xmlns:pc="http://schemas.microsoft.com/office/powerpoint/2013/main/command">
      <pc:docMk/>
      <pc:sldMk cId="2840292460" sldId="2147473512"/>
    </pc:sldMkLst>
    <p188:replyLst>
      <p188:reply id="{75F800BA-0AE1-443C-B2DF-581F2FE501F6}" authorId="{567900C6-9FC2-762A-607A-C76500C513D9}" created="2025-05-05T15:23:08.465">
        <p188:txBody>
          <a:bodyPr/>
          <a:lstStyle/>
          <a:p>
            <a:r>
              <a:rPr lang="en-US"/>
              <a:t>its plasmid ratios, but I'm not allowed to give more details</a:t>
            </a:r>
          </a:p>
        </p188:txBody>
      </p188:reply>
      <p188:reply id="{DFE263CD-F709-42D5-9044-0449A13245CC}" authorId="{567900C6-9FC2-762A-607A-C76500C513D9}" created="2025-05-05T15:37:00.888">
        <p188:txBody>
          <a:bodyPr/>
          <a:lstStyle/>
          <a:p>
            <a:r>
              <a:rPr lang="en-US"/>
              <a:t>changed to condition instead</a:t>
            </a:r>
          </a:p>
        </p188:txBody>
      </p188:reply>
    </p188:replyLst>
    <p188:txBody>
      <a:bodyPr/>
      <a:lstStyle/>
      <a:p>
        <a:r>
          <a:rPr lang="en-US"/>
          <a:t>[@Matt Edwards] what ratios are on the x-axis?</a:t>
        </a:r>
      </a:p>
    </p188:txBody>
  </p188:cm>
  <p188:cm id="{C4ED2D2A-5421-44EC-A125-DB0D00B69FC8}" authorId="{FA281C09-1964-2C3E-8767-8257508F3D5A}" status="resolved" created="2025-05-05T15:06:24.851" complete="100000">
    <pc:sldMkLst xmlns:pc="http://schemas.microsoft.com/office/powerpoint/2013/main/command">
      <pc:docMk/>
      <pc:sldMk cId="2840292460" sldId="2147473512"/>
    </pc:sldMkLst>
    <p188:txBody>
      <a:bodyPr/>
      <a:lstStyle/>
      <a:p>
        <a:r>
          <a:rPr lang="en-US"/>
          <a:t>[@Matt Edwards] is packaging the same as % fulls?</a:t>
        </a:r>
      </a:p>
    </p188:txBody>
  </p188:cm>
</p188:cmLst>
</file>

<file path=ppt/comments/modernComment_7FFFD869_409C18E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845BE8C7-6AF6-4EFF-9099-B03C02DC1495}" authorId="{FA281C09-1964-2C3E-8767-8257508F3D5A}" status="resolved" created="2025-05-05T15:05:06.267" complete="100000">
    <pc:sldMkLst xmlns:pc="http://schemas.microsoft.com/office/powerpoint/2013/main/command">
      <pc:docMk/>
      <pc:sldMk cId="67748238" sldId="2147473513"/>
    </pc:sldMkLst>
    <p188:txBody>
      <a:bodyPr/>
      <a:lstStyle/>
      <a:p>
        <a:r>
          <a:rPr lang="en-US"/>
          <a:t>[@Matt Edwards] last box should be “use” not utilize</a:t>
        </a:r>
      </a:p>
    </p188:txBody>
  </p188:cm>
</p188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6B7688B-058A-A3DF-28A4-28AA36B5CF8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8AAAFCF-A837-DF71-3D01-6FE8B80CCC8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B201C63-F2FA-D74C-920A-92380DB582E5}" type="datetimeFigureOut">
              <a:rPr lang="en-US" smtClean="0"/>
              <a:t>5/9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31CFA33-0E23-8DF0-CF2F-52D72FE03C8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B03FBF6-9FB2-DE81-833E-781CA8E5297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69F38FF-6E4B-EC4A-A92A-BCD8DF48E46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508585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B4BDE1-11FB-D345-B7C5-71111677E8DA}" type="datetimeFigureOut">
              <a:rPr lang="en-US" smtClean="0"/>
              <a:t>5/9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C544B5-AB89-1448-970E-B43F6875548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3857860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8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377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566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754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943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131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320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509" algn="l" defTabSz="91437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2C6CDB-65B9-244E-0793-239A19743B0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8719CF1-57B5-7F54-4109-E93861B5D77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AF99AC3-5D92-C0E3-5DE8-0AB10B57F00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A23A65F-37AE-B424-00C3-A624D52C750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C544B5-AB89-1448-970E-B43F6875548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78969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0" i="0">
              <a:solidFill>
                <a:srgbClr val="212121"/>
              </a:solidFill>
              <a:effectLst/>
              <a:latin typeface="BlinkMacSystemFon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C544B5-AB89-1448-970E-B43F6875548C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385298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Change graph to vg/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C544B5-AB89-1448-970E-B43F6875548C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602067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Need to swap out graphs once I have access to raw data from Matt B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BC544B5-AB89-1448-970E-B43F6875548C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4364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5.emf"/><Relationship Id="rId5" Type="http://schemas.openxmlformats.org/officeDocument/2006/relationships/image" Target="../media/image4.jpeg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5" Type="http://schemas.openxmlformats.org/officeDocument/2006/relationships/image" Target="../media/image10.jpeg"/><Relationship Id="rId4" Type="http://schemas.openxmlformats.org/officeDocument/2006/relationships/image" Target="../media/image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5.emf"/><Relationship Id="rId5" Type="http://schemas.openxmlformats.org/officeDocument/2006/relationships/image" Target="../media/image6.emf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5.emf"/><Relationship Id="rId5" Type="http://schemas.openxmlformats.org/officeDocument/2006/relationships/image" Target="../media/image8.emf"/><Relationship Id="rId4" Type="http://schemas.openxmlformats.org/officeDocument/2006/relationships/image" Target="../media/image3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3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think-cell data - do not delete" hidden="1">
            <a:extLst>
              <a:ext uri="{FF2B5EF4-FFF2-40B4-BE49-F238E27FC236}">
                <a16:creationId xmlns:a16="http://schemas.microsoft.com/office/drawing/2014/main" id="{8853F2C8-3E67-2725-7EF2-E21423391A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9608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141" imgH="1143" progId="TCLayout.ActiveDocument.1">
                  <p:embed/>
                </p:oleObj>
              </mc:Choice>
              <mc:Fallback>
                <p:oleObj name="think-cell Slide" r:id="rId3" imgW="1141" imgH="1143" progId="TCLayout.ActiveDocument.1">
                  <p:embed/>
                  <p:pic>
                    <p:nvPicPr>
                      <p:cNvPr id="1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853F2C8-3E67-2725-7EF2-E21423391A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4F59C935-4B75-4A45-9783-443A1AF3A58F}"/>
              </a:ext>
            </a:extLst>
          </p:cNvPr>
          <p:cNvSpPr/>
          <p:nvPr userDrawn="1"/>
        </p:nvSpPr>
        <p:spPr>
          <a:xfrm>
            <a:off x="0" y="0"/>
            <a:ext cx="12192000" cy="68849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3568" y="4360989"/>
            <a:ext cx="11375136" cy="1193800"/>
          </a:xfrm>
        </p:spPr>
        <p:txBody>
          <a:bodyPr vert="horz" anchor="t">
            <a:noAutofit/>
          </a:bodyPr>
          <a:lstStyle>
            <a:lvl1pPr algn="l">
              <a:defRPr sz="4267">
                <a:solidFill>
                  <a:srgbClr val="4D565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53568" y="5554789"/>
            <a:ext cx="11375136" cy="602171"/>
          </a:xfrm>
        </p:spPr>
        <p:txBody>
          <a:bodyPr anchor="t"/>
          <a:lstStyle>
            <a:lvl1pPr marL="0" indent="0" algn="l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A2C80D-EE1E-204E-AF8A-7F6710C14D9C}"/>
              </a:ext>
            </a:extLst>
          </p:cNvPr>
          <p:cNvSpPr/>
          <p:nvPr userDrawn="1"/>
        </p:nvSpPr>
        <p:spPr>
          <a:xfrm>
            <a:off x="0" y="6656832"/>
            <a:ext cx="12192000" cy="228093"/>
          </a:xfrm>
          <a:prstGeom prst="rect">
            <a:avLst/>
          </a:prstGeom>
          <a:solidFill>
            <a:srgbClr val="2D39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617AC26-E66A-2A47-A7CB-7A09BEFE2C96}"/>
              </a:ext>
            </a:extLst>
          </p:cNvPr>
          <p:cNvCxnSpPr>
            <a:cxnSpLocks/>
          </p:cNvCxnSpPr>
          <p:nvPr userDrawn="1"/>
        </p:nvCxnSpPr>
        <p:spPr>
          <a:xfrm>
            <a:off x="489035" y="5092248"/>
            <a:ext cx="853440" cy="0"/>
          </a:xfrm>
          <a:prstGeom prst="line">
            <a:avLst/>
          </a:prstGeom>
          <a:ln w="698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2BA51E3-2D2A-4C4D-8656-6356B639186B}"/>
              </a:ext>
            </a:extLst>
          </p:cNvPr>
          <p:cNvCxnSpPr>
            <a:cxnSpLocks/>
          </p:cNvCxnSpPr>
          <p:nvPr userDrawn="1"/>
        </p:nvCxnSpPr>
        <p:spPr>
          <a:xfrm>
            <a:off x="489035" y="5092417"/>
            <a:ext cx="304800" cy="0"/>
          </a:xfrm>
          <a:prstGeom prst="line">
            <a:avLst/>
          </a:prstGeom>
          <a:ln w="698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BB60D0B-5F41-4981-BAF3-4AC17A2FCE19}"/>
              </a:ext>
            </a:extLst>
          </p:cNvPr>
          <p:cNvSpPr txBox="1">
            <a:spLocks/>
          </p:cNvSpPr>
          <p:nvPr userDrawn="1"/>
        </p:nvSpPr>
        <p:spPr>
          <a:xfrm>
            <a:off x="1" y="6656832"/>
            <a:ext cx="12191999" cy="228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ctr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/>
            </a:defPPr>
            <a:lvl1pPr marL="0" marR="0" lvl="0" algn="ctr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675" b="0" i="0" u="none" strike="noStrike" kern="1200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sz="900"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  <p:pic>
        <p:nvPicPr>
          <p:cNvPr id="7" name="Picture 6" descr="A person carrying a child on his shoulders&#10;&#10;Description automatically generated">
            <a:extLst>
              <a:ext uri="{FF2B5EF4-FFF2-40B4-BE49-F238E27FC236}">
                <a16:creationId xmlns:a16="http://schemas.microsoft.com/office/drawing/2014/main" id="{F4E1E406-4E12-EA42-B821-653456E8BA3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-168"/>
            <a:ext cx="12192000" cy="412750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DC7ED331-0D49-49A9-A3A6-C0A001D903A7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6843" y="673292"/>
            <a:ext cx="2121408" cy="4875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08111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uckets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ECD8CE9-116C-8A03-5EA9-887F7A8289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90805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141" imgH="1143" progId="TCLayout.ActiveDocument.1">
                  <p:embed/>
                </p:oleObj>
              </mc:Choice>
              <mc:Fallback>
                <p:oleObj name="think-cell Slide" r:id="rId3" imgW="1141" imgH="114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CD8CE9-116C-8A03-5EA9-887F7A8289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Rectangle 22">
            <a:extLst>
              <a:ext uri="{FF2B5EF4-FFF2-40B4-BE49-F238E27FC236}">
                <a16:creationId xmlns:a16="http://schemas.microsoft.com/office/drawing/2014/main" id="{33BC2304-8F4B-1E4F-8CFE-039C230FBEE5}"/>
              </a:ext>
            </a:extLst>
          </p:cNvPr>
          <p:cNvSpPr/>
          <p:nvPr userDrawn="1"/>
        </p:nvSpPr>
        <p:spPr>
          <a:xfrm>
            <a:off x="704968" y="1885903"/>
            <a:ext cx="3169920" cy="3413760"/>
          </a:xfrm>
          <a:prstGeom prst="rect">
            <a:avLst/>
          </a:prstGeom>
          <a:noFill/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F8D0D3F8-63A4-E040-BE8B-D8CD48C6BAC3}"/>
              </a:ext>
            </a:extLst>
          </p:cNvPr>
          <p:cNvSpPr/>
          <p:nvPr userDrawn="1"/>
        </p:nvSpPr>
        <p:spPr>
          <a:xfrm>
            <a:off x="4511040" y="1885903"/>
            <a:ext cx="3169920" cy="3413760"/>
          </a:xfrm>
          <a:prstGeom prst="rect">
            <a:avLst/>
          </a:prstGeom>
          <a:noFill/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9B8A472A-7753-E14B-8199-D4CF6DC505E4}"/>
              </a:ext>
            </a:extLst>
          </p:cNvPr>
          <p:cNvSpPr/>
          <p:nvPr userDrawn="1"/>
        </p:nvSpPr>
        <p:spPr>
          <a:xfrm>
            <a:off x="8270235" y="1885903"/>
            <a:ext cx="3169920" cy="3413760"/>
          </a:xfrm>
          <a:prstGeom prst="rect">
            <a:avLst/>
          </a:prstGeom>
          <a:noFill/>
          <a:ln w="25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598309F-AD7D-BB4B-AD96-BFCC9CBFDCB5}"/>
              </a:ext>
            </a:extLst>
          </p:cNvPr>
          <p:cNvSpPr/>
          <p:nvPr userDrawn="1"/>
        </p:nvSpPr>
        <p:spPr>
          <a:xfrm>
            <a:off x="704968" y="1878171"/>
            <a:ext cx="3169920" cy="7032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04968" y="2581390"/>
            <a:ext cx="3169920" cy="2710540"/>
          </a:xfrm>
        </p:spPr>
        <p:txBody>
          <a:bodyPr/>
          <a:lstStyle>
            <a:lvl1pPr marL="228594" indent="-228594">
              <a:lnSpc>
                <a:spcPts val="2133"/>
              </a:lnSpc>
              <a:buClr>
                <a:srgbClr val="2D3943"/>
              </a:buClr>
              <a:buFont typeface="Wingdings" pitchFamily="2" charset="2"/>
              <a:buChar char="§"/>
              <a:defRPr/>
            </a:lvl1pPr>
            <a:lvl2pPr marL="685783" indent="-228594">
              <a:buClr>
                <a:srgbClr val="2D3943"/>
              </a:buClr>
              <a:buFont typeface="Wingdings" pitchFamily="2" charset="2"/>
              <a:buChar char="§"/>
              <a:defRPr/>
            </a:lvl2pPr>
            <a:lvl3pPr marL="1142971" indent="-228594">
              <a:buClr>
                <a:srgbClr val="2D3943"/>
              </a:buClr>
              <a:buFont typeface="Wingdings" pitchFamily="2" charset="2"/>
              <a:buChar char="§"/>
              <a:defRPr/>
            </a:lvl3pPr>
            <a:lvl4pPr marL="1600160" indent="-228594">
              <a:buClr>
                <a:srgbClr val="2D3943"/>
              </a:buClr>
              <a:buFont typeface="Wingdings" pitchFamily="2" charset="2"/>
              <a:buChar char="§"/>
              <a:defRPr/>
            </a:lvl4pPr>
            <a:lvl5pPr marL="2057349" indent="-228594">
              <a:buClr>
                <a:srgbClr val="2D3943"/>
              </a:buClr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0A5C1E7-AF5A-8345-B4E5-429A937C7DD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04968" y="1878172"/>
            <a:ext cx="3169920" cy="703217"/>
          </a:xfrm>
        </p:spPr>
        <p:txBody>
          <a:bodyPr>
            <a:noAutofit/>
          </a:bodyPr>
          <a:lstStyle>
            <a:lvl1pPr marL="0" indent="0">
              <a:buNone/>
              <a:defRPr sz="1867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414C85E-B1C1-894E-AD5E-E2BBFEF985D4}"/>
              </a:ext>
            </a:extLst>
          </p:cNvPr>
          <p:cNvSpPr/>
          <p:nvPr userDrawn="1"/>
        </p:nvSpPr>
        <p:spPr>
          <a:xfrm>
            <a:off x="4511040" y="1878171"/>
            <a:ext cx="3169920" cy="7032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019AC35-DBFB-F54C-91A6-BCF40546AC55}"/>
              </a:ext>
            </a:extLst>
          </p:cNvPr>
          <p:cNvSpPr/>
          <p:nvPr userDrawn="1"/>
        </p:nvSpPr>
        <p:spPr>
          <a:xfrm>
            <a:off x="8270235" y="1878171"/>
            <a:ext cx="3169920" cy="7032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A36BB062-B432-4F84-8601-945CE0D13228}"/>
              </a:ext>
            </a:extLst>
          </p:cNvPr>
          <p:cNvSpPr txBox="1">
            <a:spLocks/>
          </p:cNvSpPr>
          <p:nvPr userDrawn="1"/>
        </p:nvSpPr>
        <p:spPr>
          <a:xfrm>
            <a:off x="11556585" y="6311900"/>
            <a:ext cx="635415" cy="573024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5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186CAA-5453-304B-94B8-0387B59EE826}" type="slidenum">
              <a:rPr lang="en-US" sz="907" smtClean="0"/>
              <a:pPr/>
              <a:t>‹#›</a:t>
            </a:fld>
            <a:endParaRPr lang="en-US" sz="907"/>
          </a:p>
        </p:txBody>
      </p:sp>
      <p:sp>
        <p:nvSpPr>
          <p:cNvPr id="28" name="Title Placeholder 1">
            <a:extLst>
              <a:ext uri="{FF2B5EF4-FFF2-40B4-BE49-F238E27FC236}">
                <a16:creationId xmlns:a16="http://schemas.microsoft.com/office/drawing/2014/main" id="{69452723-8C88-4376-AF21-70DCAA56B5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424" y="365760"/>
            <a:ext cx="11472672" cy="53496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>
                <a:solidFill>
                  <a:srgbClr val="4D565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9" name="Content Placeholder 2">
            <a:extLst>
              <a:ext uri="{FF2B5EF4-FFF2-40B4-BE49-F238E27FC236}">
                <a16:creationId xmlns:a16="http://schemas.microsoft.com/office/drawing/2014/main" id="{2073565A-D62E-4DE5-A792-5347644436D5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511040" y="2581390"/>
            <a:ext cx="3169920" cy="2710540"/>
          </a:xfrm>
        </p:spPr>
        <p:txBody>
          <a:bodyPr/>
          <a:lstStyle>
            <a:lvl1pPr marL="228594" indent="-228594">
              <a:lnSpc>
                <a:spcPts val="2133"/>
              </a:lnSpc>
              <a:buClr>
                <a:srgbClr val="2D3943"/>
              </a:buClr>
              <a:buFont typeface="Wingdings" pitchFamily="2" charset="2"/>
              <a:buChar char="§"/>
              <a:defRPr/>
            </a:lvl1pPr>
            <a:lvl2pPr marL="685783" indent="-228594">
              <a:buClr>
                <a:srgbClr val="2D3943"/>
              </a:buClr>
              <a:buFont typeface="Wingdings" pitchFamily="2" charset="2"/>
              <a:buChar char="§"/>
              <a:defRPr/>
            </a:lvl2pPr>
            <a:lvl3pPr marL="1142971" indent="-228594">
              <a:buClr>
                <a:srgbClr val="2D3943"/>
              </a:buClr>
              <a:buFont typeface="Wingdings" pitchFamily="2" charset="2"/>
              <a:buChar char="§"/>
              <a:defRPr/>
            </a:lvl3pPr>
            <a:lvl4pPr marL="1600160" indent="-228594">
              <a:buClr>
                <a:srgbClr val="2D3943"/>
              </a:buClr>
              <a:buFont typeface="Wingdings" pitchFamily="2" charset="2"/>
              <a:buChar char="§"/>
              <a:defRPr/>
            </a:lvl4pPr>
            <a:lvl5pPr marL="2057349" indent="-228594">
              <a:buClr>
                <a:srgbClr val="2D3943"/>
              </a:buClr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Content Placeholder 10">
            <a:extLst>
              <a:ext uri="{FF2B5EF4-FFF2-40B4-BE49-F238E27FC236}">
                <a16:creationId xmlns:a16="http://schemas.microsoft.com/office/drawing/2014/main" id="{2F846BEF-5D6B-420D-AC24-A91DEE8B290F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511040" y="1878172"/>
            <a:ext cx="3169920" cy="703217"/>
          </a:xfrm>
        </p:spPr>
        <p:txBody>
          <a:bodyPr>
            <a:noAutofit/>
          </a:bodyPr>
          <a:lstStyle>
            <a:lvl1pPr marL="0" indent="0">
              <a:buNone/>
              <a:defRPr sz="1867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7F2884B2-01DA-4F7D-9A82-720F4BAB0B56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270235" y="2581390"/>
            <a:ext cx="3169920" cy="2710540"/>
          </a:xfrm>
        </p:spPr>
        <p:txBody>
          <a:bodyPr/>
          <a:lstStyle>
            <a:lvl1pPr marL="228594" indent="-228594">
              <a:lnSpc>
                <a:spcPts val="2133"/>
              </a:lnSpc>
              <a:buClr>
                <a:srgbClr val="2D3943"/>
              </a:buClr>
              <a:buFont typeface="Wingdings" pitchFamily="2" charset="2"/>
              <a:buChar char="§"/>
              <a:defRPr/>
            </a:lvl1pPr>
            <a:lvl2pPr marL="685783" indent="-228594">
              <a:buClr>
                <a:srgbClr val="2D3943"/>
              </a:buClr>
              <a:buFont typeface="Wingdings" pitchFamily="2" charset="2"/>
              <a:buChar char="§"/>
              <a:defRPr/>
            </a:lvl2pPr>
            <a:lvl3pPr marL="1142971" indent="-228594">
              <a:buClr>
                <a:srgbClr val="2D3943"/>
              </a:buClr>
              <a:buFont typeface="Wingdings" pitchFamily="2" charset="2"/>
              <a:buChar char="§"/>
              <a:defRPr/>
            </a:lvl3pPr>
            <a:lvl4pPr marL="1600160" indent="-228594">
              <a:buClr>
                <a:srgbClr val="2D3943"/>
              </a:buClr>
              <a:buFont typeface="Wingdings" pitchFamily="2" charset="2"/>
              <a:buChar char="§"/>
              <a:defRPr/>
            </a:lvl4pPr>
            <a:lvl5pPr marL="2057349" indent="-228594">
              <a:buClr>
                <a:srgbClr val="2D3943"/>
              </a:buClr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Content Placeholder 10">
            <a:extLst>
              <a:ext uri="{FF2B5EF4-FFF2-40B4-BE49-F238E27FC236}">
                <a16:creationId xmlns:a16="http://schemas.microsoft.com/office/drawing/2014/main" id="{8CBA6443-A090-4C96-9058-E52758A05A3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8270235" y="1878172"/>
            <a:ext cx="3169920" cy="703217"/>
          </a:xfrm>
        </p:spPr>
        <p:txBody>
          <a:bodyPr>
            <a:noAutofit/>
          </a:bodyPr>
          <a:lstStyle>
            <a:lvl1pPr marL="0" indent="0">
              <a:buNone/>
              <a:defRPr sz="1867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837919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61D734CC-727E-B68C-87C6-68ACB98FAD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91275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141" imgH="1143" progId="TCLayout.ActiveDocument.1">
                  <p:embed/>
                </p:oleObj>
              </mc:Choice>
              <mc:Fallback>
                <p:oleObj name="think-cell Slide" r:id="rId3" imgW="1141" imgH="114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1D734CC-727E-B68C-87C6-68ACB98FAD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rgbClr val="4D565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67274522-5A91-437C-A1D7-EA12E7F53CBB}"/>
              </a:ext>
            </a:extLst>
          </p:cNvPr>
          <p:cNvSpPr txBox="1">
            <a:spLocks/>
          </p:cNvSpPr>
          <p:nvPr userDrawn="1"/>
        </p:nvSpPr>
        <p:spPr>
          <a:xfrm>
            <a:off x="11556585" y="6311900"/>
            <a:ext cx="635415" cy="573024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5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186CAA-5453-304B-94B8-0387B59EE826}" type="slidenum">
              <a:rPr lang="en-US" sz="907" smtClean="0"/>
              <a:pPr/>
              <a:t>‹#›</a:t>
            </a:fld>
            <a:endParaRPr lang="en-US" sz="907"/>
          </a:p>
        </p:txBody>
      </p:sp>
    </p:spTree>
    <p:extLst>
      <p:ext uri="{BB962C8B-B14F-4D97-AF65-F5344CB8AC3E}">
        <p14:creationId xmlns:p14="http://schemas.microsoft.com/office/powerpoint/2010/main" val="32038581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BBC9255-8056-E296-8EB0-479D87E4A1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1411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141" imgH="1143" progId="TCLayout.ActiveDocument.1">
                  <p:embed/>
                </p:oleObj>
              </mc:Choice>
              <mc:Fallback>
                <p:oleObj name="think-cell Slide" r:id="rId3" imgW="1141" imgH="1143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BC9255-8056-E296-8EB0-479D87E4A1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rgbClr val="4D565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1B589EB-1961-4EB3-ADD9-D1D81EAA03A2}"/>
              </a:ext>
            </a:extLst>
          </p:cNvPr>
          <p:cNvSpPr txBox="1"/>
          <p:nvPr userDrawn="1"/>
        </p:nvSpPr>
        <p:spPr>
          <a:xfrm>
            <a:off x="0" y="6317834"/>
            <a:ext cx="6096000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buClr>
                <a:srgbClr val="000000"/>
              </a:buClr>
              <a:buSzPts val="1400"/>
            </a:pPr>
            <a:r>
              <a:rPr lang="en-US" sz="9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Footnote 1</a:t>
            </a:r>
          </a:p>
          <a:p>
            <a:pPr>
              <a:buClr>
                <a:srgbClr val="000000"/>
              </a:buClr>
              <a:buSzPts val="1400"/>
            </a:pPr>
            <a:r>
              <a:rPr lang="en-US" sz="9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Footnote 2</a:t>
            </a:r>
          </a:p>
          <a:p>
            <a:pPr>
              <a:buClr>
                <a:srgbClr val="000000"/>
              </a:buClr>
              <a:buSzPts val="1400"/>
            </a:pPr>
            <a:r>
              <a:rPr lang="en-US" sz="900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Footnote 3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46FD7CFF-F317-4819-AA50-667BE4EFD6B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44424" y="1723616"/>
            <a:ext cx="5675376" cy="435133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21BD6EA4-050D-48F9-B8E7-56760C99F38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5017" y="1334235"/>
            <a:ext cx="5674783" cy="38938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CD1EE7C5-CCE5-4284-82C7-EE5CFFEC9F65}"/>
              </a:ext>
            </a:extLst>
          </p:cNvPr>
          <p:cNvSpPr txBox="1">
            <a:spLocks/>
          </p:cNvSpPr>
          <p:nvPr userDrawn="1"/>
        </p:nvSpPr>
        <p:spPr>
          <a:xfrm>
            <a:off x="11556585" y="6311900"/>
            <a:ext cx="635415" cy="573024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5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186CAA-5453-304B-94B8-0387B59EE826}" type="slidenum">
              <a:rPr lang="en-US" sz="907" smtClean="0"/>
              <a:pPr/>
              <a:t>‹#›</a:t>
            </a:fld>
            <a:endParaRPr lang="en-US" sz="907"/>
          </a:p>
        </p:txBody>
      </p:sp>
      <p:pic>
        <p:nvPicPr>
          <p:cNvPr id="6" name="Picture 5" descr="A person and person in white coats in a lab&#10;&#10;Description automatically generated">
            <a:extLst>
              <a:ext uri="{FF2B5EF4-FFF2-40B4-BE49-F238E27FC236}">
                <a16:creationId xmlns:a16="http://schemas.microsoft.com/office/drawing/2014/main" id="{5532D82D-FC8D-843F-13F2-DFE3FEE91A6E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398003" y="1510402"/>
            <a:ext cx="5360369" cy="40202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37415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A37A779A-EDD1-5E43-945C-9670587B572C}"/>
              </a:ext>
            </a:extLst>
          </p:cNvPr>
          <p:cNvSpPr/>
          <p:nvPr userDrawn="1"/>
        </p:nvSpPr>
        <p:spPr>
          <a:xfrm>
            <a:off x="0" y="0"/>
            <a:ext cx="12192000" cy="68849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C34F89A-25D0-664C-9DDC-A8414D2E7A2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367976" y="0"/>
            <a:ext cx="5824024" cy="68580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0AA2C80D-EE1E-204E-AF8A-7F6710C14D9C}"/>
              </a:ext>
            </a:extLst>
          </p:cNvPr>
          <p:cNvSpPr/>
          <p:nvPr userDrawn="1"/>
        </p:nvSpPr>
        <p:spPr>
          <a:xfrm>
            <a:off x="0" y="6656832"/>
            <a:ext cx="12192000" cy="228093"/>
          </a:xfrm>
          <a:prstGeom prst="rect">
            <a:avLst/>
          </a:prstGeom>
          <a:solidFill>
            <a:srgbClr val="2D39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617AC26-E66A-2A47-A7CB-7A09BEFE2C96}"/>
              </a:ext>
            </a:extLst>
          </p:cNvPr>
          <p:cNvCxnSpPr>
            <a:cxnSpLocks/>
          </p:cNvCxnSpPr>
          <p:nvPr userDrawn="1"/>
        </p:nvCxnSpPr>
        <p:spPr>
          <a:xfrm>
            <a:off x="489035" y="4535424"/>
            <a:ext cx="853440" cy="0"/>
          </a:xfrm>
          <a:prstGeom prst="line">
            <a:avLst/>
          </a:prstGeom>
          <a:ln w="698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2BA51E3-2D2A-4C4D-8656-6356B639186B}"/>
              </a:ext>
            </a:extLst>
          </p:cNvPr>
          <p:cNvCxnSpPr>
            <a:cxnSpLocks/>
          </p:cNvCxnSpPr>
          <p:nvPr userDrawn="1"/>
        </p:nvCxnSpPr>
        <p:spPr>
          <a:xfrm>
            <a:off x="489035" y="4535593"/>
            <a:ext cx="304800" cy="0"/>
          </a:xfrm>
          <a:prstGeom prst="line">
            <a:avLst/>
          </a:prstGeom>
          <a:ln w="698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ubtitle 2">
            <a:extLst>
              <a:ext uri="{FF2B5EF4-FFF2-40B4-BE49-F238E27FC236}">
                <a16:creationId xmlns:a16="http://schemas.microsoft.com/office/drawing/2014/main" id="{216FD2F4-6536-6C46-B7A6-3362B5053D11}"/>
              </a:ext>
            </a:extLst>
          </p:cNvPr>
          <p:cNvSpPr txBox="1">
            <a:spLocks/>
          </p:cNvSpPr>
          <p:nvPr userDrawn="1"/>
        </p:nvSpPr>
        <p:spPr>
          <a:xfrm>
            <a:off x="364857" y="5185548"/>
            <a:ext cx="11375136" cy="387129"/>
          </a:xfrm>
          <a:prstGeom prst="rect">
            <a:avLst/>
          </a:prstGeom>
        </p:spPr>
        <p:txBody>
          <a:bodyPr vert="horz" lIns="121920" tIns="60960" rIns="121920" bIns="60960" rtlCol="0" anchor="t">
            <a:noAutofit/>
          </a:bodyPr>
          <a:lstStyle>
            <a:lvl1pPr marL="0" indent="0" algn="l" defTabSz="685800" rtl="0" eaLnBrk="1" latinLnBrk="0" hangingPunct="1">
              <a:lnSpc>
                <a:spcPts val="1400"/>
              </a:lnSpc>
              <a:spcBef>
                <a:spcPts val="0"/>
              </a:spcBef>
              <a:buClr>
                <a:schemeClr val="accent2"/>
              </a:buClr>
              <a:buFont typeface="Wingdings" pitchFamily="2" charset="2"/>
              <a:buNone/>
              <a:defRPr sz="1100" kern="1200">
                <a:solidFill>
                  <a:srgbClr val="2D39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429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2D3943"/>
              </a:buClr>
              <a:buFont typeface="System Font Regular"/>
              <a:buNone/>
              <a:defRPr sz="1500" kern="1200">
                <a:solidFill>
                  <a:srgbClr val="2D39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858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kern="1200">
                <a:solidFill>
                  <a:srgbClr val="2D39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0287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rgbClr val="2D39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716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rgbClr val="2D39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67" b="1" err="1">
                <a:solidFill>
                  <a:schemeClr val="accent1"/>
                </a:solidFill>
              </a:rPr>
              <a:t>affiniatx.com</a:t>
            </a:r>
            <a:endParaRPr lang="en-US" sz="1467" b="1">
              <a:solidFill>
                <a:schemeClr val="accent1"/>
              </a:solidFill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48B77E09-0469-564D-9FC9-A71502FAC6BE}"/>
              </a:ext>
            </a:extLst>
          </p:cNvPr>
          <p:cNvSpPr txBox="1">
            <a:spLocks/>
          </p:cNvSpPr>
          <p:nvPr userDrawn="1"/>
        </p:nvSpPr>
        <p:spPr>
          <a:xfrm>
            <a:off x="342279" y="3727005"/>
            <a:ext cx="11375136" cy="1193800"/>
          </a:xfrm>
          <a:prstGeom prst="rect">
            <a:avLst/>
          </a:prstGeom>
        </p:spPr>
        <p:txBody>
          <a:bodyPr vert="horz" lIns="121920" tIns="60960" rIns="121920" bIns="60960" rtlCol="0" anchor="t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rgbClr val="2D3943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4267">
                <a:solidFill>
                  <a:srgbClr val="4D565E"/>
                </a:solidFill>
              </a:rPr>
              <a:t>Setting a new standard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E7AB8380-B0A0-3B45-8F49-8E566351129B}"/>
              </a:ext>
            </a:extLst>
          </p:cNvPr>
          <p:cNvSpPr txBox="1">
            <a:spLocks/>
          </p:cNvSpPr>
          <p:nvPr userDrawn="1"/>
        </p:nvSpPr>
        <p:spPr>
          <a:xfrm>
            <a:off x="353568" y="4901933"/>
            <a:ext cx="11375136" cy="387129"/>
          </a:xfrm>
          <a:prstGeom prst="rect">
            <a:avLst/>
          </a:prstGeom>
        </p:spPr>
        <p:txBody>
          <a:bodyPr vert="horz" lIns="121920" tIns="60960" rIns="121920" bIns="60960" rtlCol="0" anchor="t">
            <a:noAutofit/>
          </a:bodyPr>
          <a:lstStyle>
            <a:lvl1pPr marL="0" indent="0" algn="l" defTabSz="685800" rtl="0" eaLnBrk="1" latinLnBrk="0" hangingPunct="1">
              <a:lnSpc>
                <a:spcPts val="1400"/>
              </a:lnSpc>
              <a:spcBef>
                <a:spcPts val="0"/>
              </a:spcBef>
              <a:buClr>
                <a:schemeClr val="accent2"/>
              </a:buClr>
              <a:buFont typeface="Wingdings" pitchFamily="2" charset="2"/>
              <a:buNone/>
              <a:defRPr sz="1100" kern="1200">
                <a:solidFill>
                  <a:srgbClr val="2D39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3429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2D3943"/>
              </a:buClr>
              <a:buFont typeface="System Font Regular"/>
              <a:buNone/>
              <a:defRPr sz="1500" kern="1200">
                <a:solidFill>
                  <a:srgbClr val="2D39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858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350" kern="1200">
                <a:solidFill>
                  <a:srgbClr val="2D39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0287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rgbClr val="2D39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3716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rgbClr val="2D39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17145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67"/>
              <a:t>43 Foundry Ave, Suite 120, Waltham, MA 02453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6843" y="673292"/>
            <a:ext cx="2121408" cy="487529"/>
          </a:xfrm>
          <a:prstGeom prst="rect">
            <a:avLst/>
          </a:prstGeom>
        </p:spPr>
      </p:pic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C9064213-1684-4F90-AE06-CA74E38B7545}"/>
              </a:ext>
            </a:extLst>
          </p:cNvPr>
          <p:cNvSpPr txBox="1">
            <a:spLocks/>
          </p:cNvSpPr>
          <p:nvPr userDrawn="1"/>
        </p:nvSpPr>
        <p:spPr>
          <a:xfrm>
            <a:off x="3686186" y="6667018"/>
            <a:ext cx="4822804" cy="1909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ctr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/>
            </a:defPPr>
            <a:lvl1pPr marL="0" marR="0" lvl="0" algn="ctr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675" b="0" i="0" u="none" strike="noStrike" kern="1200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sz="900"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0360957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IDE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257207" y="1019332"/>
            <a:ext cx="7694951" cy="51576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1209" y="939384"/>
            <a:ext cx="3316273" cy="2868117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341711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3EA76AF-5326-434B-82C6-A2C19C507F70}"/>
              </a:ext>
            </a:extLst>
          </p:cNvPr>
          <p:cNvSpPr/>
          <p:nvPr userDrawn="1"/>
        </p:nvSpPr>
        <p:spPr>
          <a:xfrm>
            <a:off x="0" y="-1"/>
            <a:ext cx="6096000" cy="6298691"/>
          </a:xfrm>
          <a:prstGeom prst="rect">
            <a:avLst/>
          </a:prstGeom>
          <a:solidFill>
            <a:srgbClr val="252D3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C34F89A-25D0-664C-9DDC-A8414D2E7A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000"/>
            <a:lum bright="-41000"/>
          </a:blip>
          <a:srcRect/>
          <a:stretch/>
        </p:blipFill>
        <p:spPr>
          <a:xfrm>
            <a:off x="-864120" y="1"/>
            <a:ext cx="5349035" cy="6298681"/>
          </a:xfrm>
          <a:prstGeom prst="rect">
            <a:avLst/>
          </a:prstGeom>
          <a:solidFill>
            <a:srgbClr val="4D565E">
              <a:alpha val="0"/>
            </a:srgbClr>
          </a:solidFill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DA4CF76-5B22-4EE9-8699-28178EE37E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93286" y="6311900"/>
            <a:ext cx="598714" cy="54609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186CAA-5453-304B-94B8-0387B59EE826}" type="slidenum">
              <a:rPr lang="en-US" smtClean="0"/>
              <a:pPr/>
              <a:t>‹#›</a:t>
            </a:fld>
            <a:endParaRPr lang="en-US" sz="907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351596" y="295205"/>
            <a:ext cx="5492061" cy="1435622"/>
          </a:xfrm>
        </p:spPr>
        <p:txBody>
          <a:bodyPr anchor="t">
            <a:normAutofit/>
          </a:bodyPr>
          <a:lstStyle>
            <a:lvl1pPr algn="l">
              <a:defRPr sz="4000">
                <a:solidFill>
                  <a:schemeClr val="tx2">
                    <a:lumMod val="50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9661980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4774B535-70DC-8040-574A-62F32E2943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0155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141" imgH="1143" progId="TCLayout.ActiveDocument.1">
                  <p:embed/>
                </p:oleObj>
              </mc:Choice>
              <mc:Fallback>
                <p:oleObj name="think-cell Slide" r:id="rId3" imgW="1141" imgH="114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74B535-70DC-8040-574A-62F32E2943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>
                <a:solidFill>
                  <a:srgbClr val="4D565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907"/>
            </a:lvl1pPr>
          </a:lstStyle>
          <a:p>
            <a:fld id="{9067E4F5-413A-C247-8645-9508D1B9578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83619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A6C3C58D-0212-734C-1EA1-134E8224CA2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01519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141" imgH="1143" progId="TCLayout.ActiveDocument.1">
                  <p:embed/>
                </p:oleObj>
              </mc:Choice>
              <mc:Fallback>
                <p:oleObj name="think-cell Slide" r:id="rId3" imgW="1141" imgH="114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6C3C58D-0212-734C-1EA1-134E8224CA2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02E3BD1E-9243-0046-9117-B676CA32CCCC}"/>
              </a:ext>
            </a:extLst>
          </p:cNvPr>
          <p:cNvSpPr/>
          <p:nvPr userDrawn="1"/>
        </p:nvSpPr>
        <p:spPr>
          <a:xfrm>
            <a:off x="0" y="0"/>
            <a:ext cx="12192000" cy="68849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C34F89A-25D0-664C-9DDC-A8414D2E7A2B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367976" y="0"/>
            <a:ext cx="5824024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3568" y="3727005"/>
            <a:ext cx="11375136" cy="1193800"/>
          </a:xfrm>
        </p:spPr>
        <p:txBody>
          <a:bodyPr vert="horz" anchor="t">
            <a:normAutofit/>
          </a:bodyPr>
          <a:lstStyle>
            <a:lvl1pPr algn="l">
              <a:defRPr sz="4267">
                <a:solidFill>
                  <a:srgbClr val="4D565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53568" y="4920805"/>
            <a:ext cx="11375136" cy="602171"/>
          </a:xfrm>
        </p:spPr>
        <p:txBody>
          <a:bodyPr anchor="t"/>
          <a:lstStyle>
            <a:lvl1pPr marL="0" indent="0" algn="l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AA2C80D-EE1E-204E-AF8A-7F6710C14D9C}"/>
              </a:ext>
            </a:extLst>
          </p:cNvPr>
          <p:cNvSpPr/>
          <p:nvPr userDrawn="1"/>
        </p:nvSpPr>
        <p:spPr>
          <a:xfrm>
            <a:off x="0" y="6656832"/>
            <a:ext cx="12192000" cy="228093"/>
          </a:xfrm>
          <a:prstGeom prst="rect">
            <a:avLst/>
          </a:prstGeom>
          <a:solidFill>
            <a:srgbClr val="2D39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617AC26-E66A-2A47-A7CB-7A09BEFE2C96}"/>
              </a:ext>
            </a:extLst>
          </p:cNvPr>
          <p:cNvCxnSpPr>
            <a:cxnSpLocks/>
          </p:cNvCxnSpPr>
          <p:nvPr userDrawn="1"/>
        </p:nvCxnSpPr>
        <p:spPr>
          <a:xfrm>
            <a:off x="489035" y="4532043"/>
            <a:ext cx="853440" cy="0"/>
          </a:xfrm>
          <a:prstGeom prst="line">
            <a:avLst/>
          </a:prstGeom>
          <a:ln w="698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2BA51E3-2D2A-4C4D-8656-6356B639186B}"/>
              </a:ext>
            </a:extLst>
          </p:cNvPr>
          <p:cNvCxnSpPr>
            <a:cxnSpLocks/>
          </p:cNvCxnSpPr>
          <p:nvPr userDrawn="1"/>
        </p:nvCxnSpPr>
        <p:spPr>
          <a:xfrm>
            <a:off x="489035" y="4532043"/>
            <a:ext cx="304800" cy="0"/>
          </a:xfrm>
          <a:prstGeom prst="line">
            <a:avLst/>
          </a:prstGeom>
          <a:ln w="698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6843" y="673292"/>
            <a:ext cx="2121408" cy="487529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A6F9FF9-6A79-46DA-A46F-A8F1DEF1E016}"/>
              </a:ext>
            </a:extLst>
          </p:cNvPr>
          <p:cNvSpPr txBox="1">
            <a:spLocks/>
          </p:cNvSpPr>
          <p:nvPr userDrawn="1"/>
        </p:nvSpPr>
        <p:spPr>
          <a:xfrm>
            <a:off x="1" y="6656832"/>
            <a:ext cx="12191999" cy="22809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ctr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/>
            </a:defPPr>
            <a:lvl1pPr marL="0" marR="0" lvl="0" algn="ctr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675" b="0" i="0" u="none" strike="noStrike" kern="1200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sz="900"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0792374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- Option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3EA76AF-5326-434B-82C6-A2C19C507F70}"/>
              </a:ext>
            </a:extLst>
          </p:cNvPr>
          <p:cNvSpPr/>
          <p:nvPr userDrawn="1"/>
        </p:nvSpPr>
        <p:spPr>
          <a:xfrm>
            <a:off x="0" y="-1"/>
            <a:ext cx="12192000" cy="6898132"/>
          </a:xfrm>
          <a:prstGeom prst="rect">
            <a:avLst/>
          </a:prstGeom>
          <a:solidFill>
            <a:srgbClr val="4D5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C34F89A-25D0-664C-9DDC-A8414D2E7A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10000"/>
          </a:blip>
          <a:srcRect/>
          <a:stretch/>
        </p:blipFill>
        <p:spPr>
          <a:xfrm>
            <a:off x="6333893" y="1"/>
            <a:ext cx="5858107" cy="6898132"/>
          </a:xfrm>
          <a:prstGeom prst="rect">
            <a:avLst/>
          </a:prstGeom>
          <a:solidFill>
            <a:srgbClr val="4D565E"/>
          </a:solidFill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3568" y="3727005"/>
            <a:ext cx="11375136" cy="1193800"/>
          </a:xfrm>
        </p:spPr>
        <p:txBody>
          <a:bodyPr anchor="t">
            <a:normAutofit/>
          </a:bodyPr>
          <a:lstStyle>
            <a:lvl1pPr algn="l"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53568" y="4920805"/>
            <a:ext cx="11375136" cy="602171"/>
          </a:xfrm>
        </p:spPr>
        <p:txBody>
          <a:bodyPr anchor="t"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617AC26-E66A-2A47-A7CB-7A09BEFE2C96}"/>
              </a:ext>
            </a:extLst>
          </p:cNvPr>
          <p:cNvCxnSpPr>
            <a:cxnSpLocks/>
          </p:cNvCxnSpPr>
          <p:nvPr userDrawn="1"/>
        </p:nvCxnSpPr>
        <p:spPr>
          <a:xfrm>
            <a:off x="489035" y="4535424"/>
            <a:ext cx="853440" cy="0"/>
          </a:xfrm>
          <a:prstGeom prst="line">
            <a:avLst/>
          </a:prstGeom>
          <a:ln w="698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2BA51E3-2D2A-4C4D-8656-6356B639186B}"/>
              </a:ext>
            </a:extLst>
          </p:cNvPr>
          <p:cNvCxnSpPr>
            <a:cxnSpLocks/>
          </p:cNvCxnSpPr>
          <p:nvPr userDrawn="1"/>
        </p:nvCxnSpPr>
        <p:spPr>
          <a:xfrm>
            <a:off x="489035" y="4535424"/>
            <a:ext cx="304800" cy="0"/>
          </a:xfrm>
          <a:prstGeom prst="line">
            <a:avLst/>
          </a:prstGeom>
          <a:ln w="698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1244" y="673291"/>
            <a:ext cx="2122064" cy="487680"/>
          </a:xfrm>
          <a:prstGeom prst="rect">
            <a:avLst/>
          </a:prstGeom>
        </p:spPr>
      </p:pic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FF988786-6D46-4DA1-8EC3-AE65750A776E}"/>
              </a:ext>
            </a:extLst>
          </p:cNvPr>
          <p:cNvSpPr txBox="1">
            <a:spLocks/>
          </p:cNvSpPr>
          <p:nvPr userDrawn="1"/>
        </p:nvSpPr>
        <p:spPr>
          <a:xfrm>
            <a:off x="1" y="6311902"/>
            <a:ext cx="12191999" cy="5730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ctr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/>
            </a:defPPr>
            <a:lvl1pPr marL="0" marR="0" lvl="0" algn="ctr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675" b="0" i="0" u="none" strike="noStrike" kern="1200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sz="900"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7164221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- Option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0D18AE74-7D07-8665-7E16-D7766EDBB5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177524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141" imgH="1143" progId="TCLayout.ActiveDocument.1">
                  <p:embed/>
                </p:oleObj>
              </mc:Choice>
              <mc:Fallback>
                <p:oleObj name="think-cell Slide" r:id="rId3" imgW="1141" imgH="114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18AE74-7D07-8665-7E16-D7766EDBB5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3B567F49-9F54-0A48-9532-0C3ED7EF28B7}"/>
              </a:ext>
            </a:extLst>
          </p:cNvPr>
          <p:cNvSpPr/>
          <p:nvPr userDrawn="1"/>
        </p:nvSpPr>
        <p:spPr>
          <a:xfrm>
            <a:off x="0" y="0"/>
            <a:ext cx="12192000" cy="68849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C34F89A-25D0-664C-9DDC-A8414D2E7A2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alphaModFix amt="15000"/>
          </a:blip>
          <a:srcRect/>
          <a:stretch/>
        </p:blipFill>
        <p:spPr>
          <a:xfrm>
            <a:off x="6333894" y="1"/>
            <a:ext cx="5858105" cy="689813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3568" y="3727005"/>
            <a:ext cx="11375136" cy="1193800"/>
          </a:xfrm>
        </p:spPr>
        <p:txBody>
          <a:bodyPr vert="horz" anchor="t">
            <a:normAutofit/>
          </a:bodyPr>
          <a:lstStyle>
            <a:lvl1pPr algn="l">
              <a:defRPr sz="4267">
                <a:solidFill>
                  <a:srgbClr val="4D565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53568" y="4920805"/>
            <a:ext cx="11375136" cy="602171"/>
          </a:xfrm>
        </p:spPr>
        <p:txBody>
          <a:bodyPr anchor="t"/>
          <a:lstStyle>
            <a:lvl1pPr marL="0" indent="0" algn="l">
              <a:buNone/>
              <a:defRPr sz="2400">
                <a:solidFill>
                  <a:srgbClr val="2D3943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617AC26-E66A-2A47-A7CB-7A09BEFE2C96}"/>
              </a:ext>
            </a:extLst>
          </p:cNvPr>
          <p:cNvCxnSpPr>
            <a:cxnSpLocks/>
          </p:cNvCxnSpPr>
          <p:nvPr userDrawn="1"/>
        </p:nvCxnSpPr>
        <p:spPr>
          <a:xfrm>
            <a:off x="489035" y="4535424"/>
            <a:ext cx="853440" cy="0"/>
          </a:xfrm>
          <a:prstGeom prst="line">
            <a:avLst/>
          </a:prstGeom>
          <a:ln w="698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F2BA51E3-2D2A-4C4D-8656-6356B639186B}"/>
              </a:ext>
            </a:extLst>
          </p:cNvPr>
          <p:cNvCxnSpPr>
            <a:cxnSpLocks/>
          </p:cNvCxnSpPr>
          <p:nvPr userDrawn="1"/>
        </p:nvCxnSpPr>
        <p:spPr>
          <a:xfrm>
            <a:off x="489035" y="4535424"/>
            <a:ext cx="304800" cy="0"/>
          </a:xfrm>
          <a:prstGeom prst="line">
            <a:avLst/>
          </a:prstGeom>
          <a:ln w="698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6843" y="673292"/>
            <a:ext cx="2121408" cy="487529"/>
          </a:xfrm>
          <a:prstGeom prst="rect">
            <a:avLst/>
          </a:prstGeom>
        </p:spPr>
      </p:pic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63BAEC35-124B-4C7B-9D5E-1DA2560312C5}"/>
              </a:ext>
            </a:extLst>
          </p:cNvPr>
          <p:cNvSpPr txBox="1">
            <a:spLocks/>
          </p:cNvSpPr>
          <p:nvPr userDrawn="1"/>
        </p:nvSpPr>
        <p:spPr>
          <a:xfrm>
            <a:off x="1" y="6311902"/>
            <a:ext cx="12191999" cy="5730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ctr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/>
            </a:defPPr>
            <a:lvl1pPr marL="0" marR="0" lvl="0" algn="ctr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675" b="0" i="0" u="none" strike="noStrike" kern="1200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7374627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5CF8AFAD-2AA6-0849-A3FA-3DCB001E2F75}"/>
              </a:ext>
            </a:extLst>
          </p:cNvPr>
          <p:cNvSpPr/>
          <p:nvPr userDrawn="1"/>
        </p:nvSpPr>
        <p:spPr>
          <a:xfrm>
            <a:off x="0" y="1"/>
            <a:ext cx="12192000" cy="6316617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2939" y="3799843"/>
            <a:ext cx="11274805" cy="789621"/>
          </a:xfrm>
        </p:spPr>
        <p:txBody>
          <a:bodyPr anchor="t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92939" y="4882072"/>
            <a:ext cx="11274805" cy="789621"/>
          </a:xfrm>
        </p:spPr>
        <p:txBody>
          <a:bodyPr>
            <a:noAutofit/>
          </a:bodyPr>
          <a:lstStyle>
            <a:lvl1pPr marL="0" indent="0">
              <a:buNone/>
              <a:defRPr sz="2667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4CA5F00-F31E-6443-B66D-5267B47BF08B}"/>
              </a:ext>
            </a:extLst>
          </p:cNvPr>
          <p:cNvCxnSpPr>
            <a:cxnSpLocks/>
          </p:cNvCxnSpPr>
          <p:nvPr userDrawn="1"/>
        </p:nvCxnSpPr>
        <p:spPr>
          <a:xfrm>
            <a:off x="489035" y="4511040"/>
            <a:ext cx="853440" cy="0"/>
          </a:xfrm>
          <a:prstGeom prst="line">
            <a:avLst/>
          </a:prstGeom>
          <a:ln w="698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97891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 - Option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5CF8AFAD-2AA6-0849-A3FA-3DCB001E2F75}"/>
              </a:ext>
            </a:extLst>
          </p:cNvPr>
          <p:cNvSpPr/>
          <p:nvPr userDrawn="1"/>
        </p:nvSpPr>
        <p:spPr>
          <a:xfrm>
            <a:off x="0" y="1"/>
            <a:ext cx="12192000" cy="6316617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2"/>
              </a:gs>
            </a:gsLst>
            <a:lin ang="108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2939" y="3799843"/>
            <a:ext cx="11274805" cy="789621"/>
          </a:xfrm>
        </p:spPr>
        <p:txBody>
          <a:bodyPr anchor="t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92939" y="4882072"/>
            <a:ext cx="11274805" cy="789621"/>
          </a:xfrm>
        </p:spPr>
        <p:txBody>
          <a:bodyPr>
            <a:noAutofit/>
          </a:bodyPr>
          <a:lstStyle>
            <a:lvl1pPr marL="0" indent="0">
              <a:buNone/>
              <a:defRPr sz="2667">
                <a:solidFill>
                  <a:schemeClr val="bg1"/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4CA5F00-F31E-6443-B66D-5267B47BF08B}"/>
              </a:ext>
            </a:extLst>
          </p:cNvPr>
          <p:cNvCxnSpPr>
            <a:cxnSpLocks/>
          </p:cNvCxnSpPr>
          <p:nvPr userDrawn="1"/>
        </p:nvCxnSpPr>
        <p:spPr>
          <a:xfrm>
            <a:off x="489035" y="4511040"/>
            <a:ext cx="853440" cy="0"/>
          </a:xfrm>
          <a:prstGeom prst="line">
            <a:avLst/>
          </a:prstGeom>
          <a:ln w="698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4">
            <a:extLst>
              <a:ext uri="{FF2B5EF4-FFF2-40B4-BE49-F238E27FC236}">
                <a16:creationId xmlns:a16="http://schemas.microsoft.com/office/drawing/2014/main" id="{80D5D835-EEA5-D44D-9736-2F6421B86D1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20000"/>
          </a:blip>
          <a:srcRect l="67240"/>
          <a:stretch/>
        </p:blipFill>
        <p:spPr>
          <a:xfrm>
            <a:off x="8178800" y="1"/>
            <a:ext cx="4013200" cy="63166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9813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y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B3176A14-6822-629A-367F-C3B4F986F00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2319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141" imgH="1143" progId="TCLayout.ActiveDocument.1">
                  <p:embed/>
                </p:oleObj>
              </mc:Choice>
              <mc:Fallback>
                <p:oleObj name="think-cell Slide" r:id="rId3" imgW="1141" imgH="114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B3176A14-6822-629A-367F-C3B4F986F0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4424" y="1723616"/>
            <a:ext cx="5675376" cy="4351339"/>
          </a:xfrm>
        </p:spPr>
        <p:txBody>
          <a:bodyPr/>
          <a:lstStyle>
            <a:lvl1pPr>
              <a:lnSpc>
                <a:spcPts val="2133"/>
              </a:lnSpc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516624" y="1343314"/>
            <a:ext cx="5675376" cy="4731641"/>
          </a:xfrm>
        </p:spPr>
        <p:txBody>
          <a:bodyPr anchor="ctr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0A5C1E7-AF5A-8345-B4E5-429A937C7DD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5017" y="1334235"/>
            <a:ext cx="5674783" cy="389381"/>
          </a:xfrm>
        </p:spPr>
        <p:txBody>
          <a:bodyPr>
            <a:noAutofit/>
          </a:bodyPr>
          <a:lstStyle>
            <a:lvl1pPr marL="0" indent="0">
              <a:buNone/>
              <a:defRPr sz="1867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E85AFD81-CD7A-41F6-85D9-3A7DBECFE9D2}"/>
              </a:ext>
            </a:extLst>
          </p:cNvPr>
          <p:cNvSpPr txBox="1">
            <a:spLocks/>
          </p:cNvSpPr>
          <p:nvPr userDrawn="1"/>
        </p:nvSpPr>
        <p:spPr>
          <a:xfrm>
            <a:off x="11556585" y="6311900"/>
            <a:ext cx="635415" cy="573024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5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186CAA-5453-304B-94B8-0387B59EE826}" type="slidenum">
              <a:rPr lang="en-US" sz="907" smtClean="0"/>
              <a:pPr/>
              <a:t>‹#›</a:t>
            </a:fld>
            <a:endParaRPr lang="en-US" sz="907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333A1344-032B-48ED-AE19-821239F6F4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424" y="365760"/>
            <a:ext cx="11472672" cy="53496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>
                <a:solidFill>
                  <a:srgbClr val="4D565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975308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8FBCCD2E-2719-5BD9-8643-AEB7C678BB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057980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141" imgH="1143" progId="TCLayout.ActiveDocument.1">
                  <p:embed/>
                </p:oleObj>
              </mc:Choice>
              <mc:Fallback>
                <p:oleObj name="think-cell Slide" r:id="rId3" imgW="1141" imgH="114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FBCCD2E-2719-5BD9-8643-AEB7C678BB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44424" y="1723616"/>
            <a:ext cx="5675376" cy="4351339"/>
          </a:xfrm>
        </p:spPr>
        <p:txBody>
          <a:bodyPr/>
          <a:lstStyle>
            <a:lvl1pPr>
              <a:lnSpc>
                <a:spcPts val="2133"/>
              </a:lnSpc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F0A5C1E7-AF5A-8345-B4E5-429A937C7DD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45017" y="1334235"/>
            <a:ext cx="5674783" cy="389381"/>
          </a:xfrm>
        </p:spPr>
        <p:txBody>
          <a:bodyPr>
            <a:noAutofit/>
          </a:bodyPr>
          <a:lstStyle>
            <a:lvl1pPr marL="0" indent="0">
              <a:buNone/>
              <a:defRPr sz="1867">
                <a:solidFill>
                  <a:schemeClr val="accent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78B6D797-93BE-C649-871F-464A9BB1E5E1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6172203" y="1723616"/>
            <a:ext cx="5675376" cy="4351339"/>
          </a:xfrm>
        </p:spPr>
        <p:txBody>
          <a:bodyPr/>
          <a:lstStyle>
            <a:lvl1pPr>
              <a:lnSpc>
                <a:spcPts val="2133"/>
              </a:lnSpc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A6A77BC6-3522-4467-B6FD-9A4B5BC66EF9}"/>
              </a:ext>
            </a:extLst>
          </p:cNvPr>
          <p:cNvSpPr txBox="1">
            <a:spLocks/>
          </p:cNvSpPr>
          <p:nvPr userDrawn="1"/>
        </p:nvSpPr>
        <p:spPr>
          <a:xfrm>
            <a:off x="11556585" y="6311900"/>
            <a:ext cx="635415" cy="573024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5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186CAA-5453-304B-94B8-0387B59EE826}" type="slidenum">
              <a:rPr lang="en-US" sz="907" smtClean="0"/>
              <a:pPr/>
              <a:t>‹#›</a:t>
            </a:fld>
            <a:endParaRPr lang="en-US" sz="907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27597B04-6502-479C-9ECC-077D289557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424" y="365760"/>
            <a:ext cx="11472672" cy="53496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>
                <a:solidFill>
                  <a:srgbClr val="4D565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6551811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uckets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2DFA56-E5F2-61B0-EA1C-94CDDF8F5B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5289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1141" imgH="1143" progId="TCLayout.ActiveDocument.1">
                  <p:embed/>
                </p:oleObj>
              </mc:Choice>
              <mc:Fallback>
                <p:oleObj name="think-cell Slide" r:id="rId3" imgW="1141" imgH="114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2DFA56-E5F2-61B0-EA1C-94CDDF8F5B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2598309F-AD7D-BB4B-AD96-BFCC9CBFDCB5}"/>
              </a:ext>
            </a:extLst>
          </p:cNvPr>
          <p:cNvSpPr/>
          <p:nvPr userDrawn="1"/>
        </p:nvSpPr>
        <p:spPr>
          <a:xfrm>
            <a:off x="704968" y="1885903"/>
            <a:ext cx="3169920" cy="341376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414C85E-B1C1-894E-AD5E-E2BBFEF985D4}"/>
              </a:ext>
            </a:extLst>
          </p:cNvPr>
          <p:cNvSpPr/>
          <p:nvPr userDrawn="1"/>
        </p:nvSpPr>
        <p:spPr>
          <a:xfrm>
            <a:off x="4511040" y="1885903"/>
            <a:ext cx="3169920" cy="3413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019AC35-DBFB-F54C-91A6-BCF40546AC55}"/>
              </a:ext>
            </a:extLst>
          </p:cNvPr>
          <p:cNvSpPr/>
          <p:nvPr userDrawn="1"/>
        </p:nvSpPr>
        <p:spPr>
          <a:xfrm>
            <a:off x="8270235" y="1885903"/>
            <a:ext cx="3169920" cy="34137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86140732-69C8-42D3-99BB-25B6821E93B8}"/>
              </a:ext>
            </a:extLst>
          </p:cNvPr>
          <p:cNvSpPr txBox="1">
            <a:spLocks/>
          </p:cNvSpPr>
          <p:nvPr userDrawn="1"/>
        </p:nvSpPr>
        <p:spPr>
          <a:xfrm>
            <a:off x="11556585" y="6311900"/>
            <a:ext cx="635415" cy="573024"/>
          </a:xfrm>
          <a:prstGeom prst="rect">
            <a:avLst/>
          </a:prstGeom>
        </p:spPr>
        <p:txBody>
          <a:bodyPr vert="horz" lIns="121920" tIns="60960" rIns="121920" bIns="6096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500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7186CAA-5453-304B-94B8-0387B59EE826}" type="slidenum">
              <a:rPr lang="en-US" sz="907" smtClean="0"/>
              <a:pPr/>
              <a:t>‹#›</a:t>
            </a:fld>
            <a:endParaRPr lang="en-US" sz="907"/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B4A53E93-EF95-461D-946A-F3EE710F44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424" y="365760"/>
            <a:ext cx="11472672" cy="53496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>
                <a:solidFill>
                  <a:srgbClr val="4D565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FF23EA6E-8535-4926-BF93-7D0F67585E82}"/>
              </a:ext>
            </a:extLst>
          </p:cNvPr>
          <p:cNvSpPr/>
          <p:nvPr userDrawn="1"/>
        </p:nvSpPr>
        <p:spPr>
          <a:xfrm>
            <a:off x="704968" y="1885903"/>
            <a:ext cx="3169920" cy="3413760"/>
          </a:xfrm>
          <a:prstGeom prst="rect">
            <a:avLst/>
          </a:prstGeom>
          <a:noFill/>
          <a:ln w="254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550591A2-C45C-4B00-B660-35999DEC9779}"/>
              </a:ext>
            </a:extLst>
          </p:cNvPr>
          <p:cNvSpPr/>
          <p:nvPr userDrawn="1"/>
        </p:nvSpPr>
        <p:spPr>
          <a:xfrm>
            <a:off x="4511040" y="1885903"/>
            <a:ext cx="3169920" cy="3413760"/>
          </a:xfrm>
          <a:prstGeom prst="rect">
            <a:avLst/>
          </a:prstGeom>
          <a:noFill/>
          <a:ln w="254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02A265C1-B384-4304-8A71-10DE665C2E75}"/>
              </a:ext>
            </a:extLst>
          </p:cNvPr>
          <p:cNvSpPr/>
          <p:nvPr userDrawn="1"/>
        </p:nvSpPr>
        <p:spPr>
          <a:xfrm>
            <a:off x="8270235" y="1885903"/>
            <a:ext cx="3169920" cy="3413760"/>
          </a:xfrm>
          <a:prstGeom prst="rect">
            <a:avLst/>
          </a:prstGeom>
          <a:noFill/>
          <a:ln w="254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A4DD286C-E418-4254-BC8C-1E42E6A6BAE7}"/>
              </a:ext>
            </a:extLst>
          </p:cNvPr>
          <p:cNvSpPr/>
          <p:nvPr userDrawn="1"/>
        </p:nvSpPr>
        <p:spPr>
          <a:xfrm>
            <a:off x="704968" y="1878171"/>
            <a:ext cx="3169920" cy="70322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31" name="Content Placeholder 2">
            <a:extLst>
              <a:ext uri="{FF2B5EF4-FFF2-40B4-BE49-F238E27FC236}">
                <a16:creationId xmlns:a16="http://schemas.microsoft.com/office/drawing/2014/main" id="{D923D6F2-58A6-4DE9-9846-8E8B43E2E32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04968" y="2581390"/>
            <a:ext cx="3169920" cy="2710540"/>
          </a:xfrm>
        </p:spPr>
        <p:txBody>
          <a:bodyPr/>
          <a:lstStyle>
            <a:lvl1pPr marL="228594" indent="-228594">
              <a:lnSpc>
                <a:spcPts val="2133"/>
              </a:lnSpc>
              <a:buClr>
                <a:srgbClr val="2D3943"/>
              </a:buClr>
              <a:buFont typeface="Wingdings" pitchFamily="2" charset="2"/>
              <a:buChar char="§"/>
              <a:defRPr/>
            </a:lvl1pPr>
            <a:lvl2pPr marL="685783" indent="-228594">
              <a:buClr>
                <a:srgbClr val="2D3943"/>
              </a:buClr>
              <a:buFont typeface="Wingdings" pitchFamily="2" charset="2"/>
              <a:buChar char="§"/>
              <a:defRPr/>
            </a:lvl2pPr>
            <a:lvl3pPr marL="1142971" indent="-228594">
              <a:buClr>
                <a:srgbClr val="2D3943"/>
              </a:buClr>
              <a:buFont typeface="Wingdings" pitchFamily="2" charset="2"/>
              <a:buChar char="§"/>
              <a:defRPr/>
            </a:lvl3pPr>
            <a:lvl4pPr marL="1600160" indent="-228594">
              <a:buClr>
                <a:srgbClr val="2D3943"/>
              </a:buClr>
              <a:buFont typeface="Wingdings" pitchFamily="2" charset="2"/>
              <a:buChar char="§"/>
              <a:defRPr/>
            </a:lvl4pPr>
            <a:lvl5pPr marL="2057349" indent="-228594">
              <a:buClr>
                <a:srgbClr val="2D3943"/>
              </a:buClr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2" name="Content Placeholder 10">
            <a:extLst>
              <a:ext uri="{FF2B5EF4-FFF2-40B4-BE49-F238E27FC236}">
                <a16:creationId xmlns:a16="http://schemas.microsoft.com/office/drawing/2014/main" id="{533F753E-9F3B-4288-A8E1-669757CB02A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704968" y="1878172"/>
            <a:ext cx="3169920" cy="703217"/>
          </a:xfrm>
        </p:spPr>
        <p:txBody>
          <a:bodyPr>
            <a:noAutofit/>
          </a:bodyPr>
          <a:lstStyle>
            <a:lvl1pPr marL="0" indent="0">
              <a:buNone/>
              <a:defRPr sz="1867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2D3FD3C6-F321-4730-B9D2-491823207BD2}"/>
              </a:ext>
            </a:extLst>
          </p:cNvPr>
          <p:cNvSpPr/>
          <p:nvPr userDrawn="1"/>
        </p:nvSpPr>
        <p:spPr>
          <a:xfrm>
            <a:off x="4511040" y="1878171"/>
            <a:ext cx="3169920" cy="70322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A726C76-D4D7-4545-B46F-12E03577D9AC}"/>
              </a:ext>
            </a:extLst>
          </p:cNvPr>
          <p:cNvSpPr/>
          <p:nvPr userDrawn="1"/>
        </p:nvSpPr>
        <p:spPr>
          <a:xfrm>
            <a:off x="8270235" y="1878171"/>
            <a:ext cx="3169920" cy="70322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35" name="Content Placeholder 2">
            <a:extLst>
              <a:ext uri="{FF2B5EF4-FFF2-40B4-BE49-F238E27FC236}">
                <a16:creationId xmlns:a16="http://schemas.microsoft.com/office/drawing/2014/main" id="{7A6B7C52-8E1F-4FE9-8D9F-087ECC3E1C93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511040" y="2581390"/>
            <a:ext cx="3169920" cy="2710540"/>
          </a:xfrm>
        </p:spPr>
        <p:txBody>
          <a:bodyPr/>
          <a:lstStyle>
            <a:lvl1pPr marL="228594" indent="-228594">
              <a:lnSpc>
                <a:spcPts val="2133"/>
              </a:lnSpc>
              <a:buClr>
                <a:srgbClr val="2D3943"/>
              </a:buClr>
              <a:buFont typeface="Wingdings" pitchFamily="2" charset="2"/>
              <a:buChar char="§"/>
              <a:defRPr/>
            </a:lvl1pPr>
            <a:lvl2pPr marL="685783" indent="-228594">
              <a:buClr>
                <a:srgbClr val="2D3943"/>
              </a:buClr>
              <a:buFont typeface="Wingdings" pitchFamily="2" charset="2"/>
              <a:buChar char="§"/>
              <a:defRPr/>
            </a:lvl2pPr>
            <a:lvl3pPr marL="1142971" indent="-228594">
              <a:buClr>
                <a:srgbClr val="2D3943"/>
              </a:buClr>
              <a:buFont typeface="Wingdings" pitchFamily="2" charset="2"/>
              <a:buChar char="§"/>
              <a:defRPr/>
            </a:lvl3pPr>
            <a:lvl4pPr marL="1600160" indent="-228594">
              <a:buClr>
                <a:srgbClr val="2D3943"/>
              </a:buClr>
              <a:buFont typeface="Wingdings" pitchFamily="2" charset="2"/>
              <a:buChar char="§"/>
              <a:defRPr/>
            </a:lvl4pPr>
            <a:lvl5pPr marL="2057349" indent="-228594">
              <a:buClr>
                <a:srgbClr val="2D3943"/>
              </a:buClr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6" name="Content Placeholder 10">
            <a:extLst>
              <a:ext uri="{FF2B5EF4-FFF2-40B4-BE49-F238E27FC236}">
                <a16:creationId xmlns:a16="http://schemas.microsoft.com/office/drawing/2014/main" id="{F9C5FB90-AA0C-4006-9F4A-05FBE036E03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511040" y="1878172"/>
            <a:ext cx="3169920" cy="703217"/>
          </a:xfrm>
        </p:spPr>
        <p:txBody>
          <a:bodyPr>
            <a:noAutofit/>
          </a:bodyPr>
          <a:lstStyle>
            <a:lvl1pPr marL="0" indent="0">
              <a:buNone/>
              <a:defRPr sz="1867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Content Placeholder 2">
            <a:extLst>
              <a:ext uri="{FF2B5EF4-FFF2-40B4-BE49-F238E27FC236}">
                <a16:creationId xmlns:a16="http://schemas.microsoft.com/office/drawing/2014/main" id="{B5598FF5-6E10-4373-B854-D6897927D286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270235" y="2581390"/>
            <a:ext cx="3169920" cy="2710540"/>
          </a:xfrm>
        </p:spPr>
        <p:txBody>
          <a:bodyPr/>
          <a:lstStyle>
            <a:lvl1pPr marL="228594" indent="-228594">
              <a:lnSpc>
                <a:spcPts val="2133"/>
              </a:lnSpc>
              <a:buClr>
                <a:srgbClr val="2D3943"/>
              </a:buClr>
              <a:buFont typeface="Wingdings" pitchFamily="2" charset="2"/>
              <a:buChar char="§"/>
              <a:defRPr/>
            </a:lvl1pPr>
            <a:lvl2pPr marL="685783" indent="-228594">
              <a:buClr>
                <a:srgbClr val="2D3943"/>
              </a:buClr>
              <a:buFont typeface="Wingdings" pitchFamily="2" charset="2"/>
              <a:buChar char="§"/>
              <a:defRPr/>
            </a:lvl2pPr>
            <a:lvl3pPr marL="1142971" indent="-228594">
              <a:buClr>
                <a:srgbClr val="2D3943"/>
              </a:buClr>
              <a:buFont typeface="Wingdings" pitchFamily="2" charset="2"/>
              <a:buChar char="§"/>
              <a:defRPr/>
            </a:lvl3pPr>
            <a:lvl4pPr marL="1600160" indent="-228594">
              <a:buClr>
                <a:srgbClr val="2D3943"/>
              </a:buClr>
              <a:buFont typeface="Wingdings" pitchFamily="2" charset="2"/>
              <a:buChar char="§"/>
              <a:defRPr/>
            </a:lvl4pPr>
            <a:lvl5pPr marL="2057349" indent="-228594">
              <a:buClr>
                <a:srgbClr val="2D3943"/>
              </a:buClr>
              <a:buFont typeface="Wingdings" pitchFamily="2" charset="2"/>
              <a:buChar char="§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Content Placeholder 10">
            <a:extLst>
              <a:ext uri="{FF2B5EF4-FFF2-40B4-BE49-F238E27FC236}">
                <a16:creationId xmlns:a16="http://schemas.microsoft.com/office/drawing/2014/main" id="{AF890EAE-8E53-48F3-AA6D-AC40CD6B3B0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8270235" y="1878172"/>
            <a:ext cx="3169920" cy="703217"/>
          </a:xfrm>
        </p:spPr>
        <p:txBody>
          <a:bodyPr>
            <a:noAutofit/>
          </a:bodyPr>
          <a:lstStyle>
            <a:lvl1pPr marL="0" indent="0">
              <a:buNone/>
              <a:defRPr sz="1867">
                <a:solidFill>
                  <a:schemeClr val="bg1"/>
                </a:solidFill>
              </a:defRPr>
            </a:lvl1pPr>
            <a:lvl2pPr marL="457189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A789BA8-F404-4E6F-8AD7-CE77D7D2F19C}"/>
              </a:ext>
            </a:extLst>
          </p:cNvPr>
          <p:cNvSpPr/>
          <p:nvPr userDrawn="1"/>
        </p:nvSpPr>
        <p:spPr>
          <a:xfrm>
            <a:off x="754585" y="2553161"/>
            <a:ext cx="1502257" cy="60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A9092AB-3F2B-4A15-9D59-85E87EA76B8C}"/>
              </a:ext>
            </a:extLst>
          </p:cNvPr>
          <p:cNvSpPr/>
          <p:nvPr userDrawn="1"/>
        </p:nvSpPr>
        <p:spPr>
          <a:xfrm>
            <a:off x="4553569" y="2553161"/>
            <a:ext cx="1502257" cy="60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6BCC368-A2A4-4E2F-A9A4-4D911F7903A3}"/>
              </a:ext>
            </a:extLst>
          </p:cNvPr>
          <p:cNvSpPr/>
          <p:nvPr userDrawn="1"/>
        </p:nvSpPr>
        <p:spPr>
          <a:xfrm>
            <a:off x="8312764" y="2553161"/>
            <a:ext cx="1502257" cy="6095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</p:spTree>
    <p:extLst>
      <p:ext uri="{BB962C8B-B14F-4D97-AF65-F5344CB8AC3E}">
        <p14:creationId xmlns:p14="http://schemas.microsoft.com/office/powerpoint/2010/main" val="23544474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41F21022-A384-3F0A-D9B1-E90B445AB4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4857538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503" imgH="503" progId="TCLayout.ActiveDocument.1">
                  <p:embed/>
                </p:oleObj>
              </mc:Choice>
              <mc:Fallback>
                <p:oleObj name="think-cell Slide" r:id="rId19" imgW="503" imgH="50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1F21022-A384-3F0A-D9B1-E90B445AB4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700DAE2A-C7D1-3347-B47D-D9B545260156}"/>
              </a:ext>
            </a:extLst>
          </p:cNvPr>
          <p:cNvSpPr/>
          <p:nvPr userDrawn="1"/>
        </p:nvSpPr>
        <p:spPr>
          <a:xfrm>
            <a:off x="0" y="6311901"/>
            <a:ext cx="12192000" cy="573024"/>
          </a:xfrm>
          <a:prstGeom prst="rect">
            <a:avLst/>
          </a:prstGeom>
          <a:solidFill>
            <a:srgbClr val="2D394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4424" y="365760"/>
            <a:ext cx="11472672" cy="53496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41376" y="1339713"/>
            <a:ext cx="11472672" cy="483725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DFEB749-43EC-3349-82FE-6F0EEE15731D}"/>
              </a:ext>
            </a:extLst>
          </p:cNvPr>
          <p:cNvCxnSpPr>
            <a:cxnSpLocks/>
          </p:cNvCxnSpPr>
          <p:nvPr userDrawn="1"/>
        </p:nvCxnSpPr>
        <p:spPr>
          <a:xfrm>
            <a:off x="458899" y="902208"/>
            <a:ext cx="853440" cy="0"/>
          </a:xfrm>
          <a:prstGeom prst="line">
            <a:avLst/>
          </a:prstGeom>
          <a:ln w="698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FF260114-45EC-5F40-BD0F-6A03473380D6}"/>
              </a:ext>
            </a:extLst>
          </p:cNvPr>
          <p:cNvCxnSpPr>
            <a:cxnSpLocks/>
          </p:cNvCxnSpPr>
          <p:nvPr userDrawn="1"/>
        </p:nvCxnSpPr>
        <p:spPr>
          <a:xfrm>
            <a:off x="458899" y="902208"/>
            <a:ext cx="304800" cy="0"/>
          </a:xfrm>
          <a:prstGeom prst="line">
            <a:avLst/>
          </a:prstGeom>
          <a:ln w="698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46967769-37D0-4996-9328-A70896A94D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56585" y="6311900"/>
            <a:ext cx="635415" cy="57302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7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186CAA-5453-304B-94B8-0387B59EE826}" type="slidenum">
              <a:rPr lang="en-US" smtClean="0"/>
              <a:pPr/>
              <a:t>‹#›</a:t>
            </a:fld>
            <a:endParaRPr lang="en-US" sz="907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70DBD78-EA2F-4CC3-B815-5CD5C78B0CE3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42808" y="6458841"/>
            <a:ext cx="1214657" cy="279145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96FD4C1-2C9D-4F35-8824-D438899CC6C5}"/>
              </a:ext>
            </a:extLst>
          </p:cNvPr>
          <p:cNvSpPr txBox="1">
            <a:spLocks/>
          </p:cNvSpPr>
          <p:nvPr userDrawn="1"/>
        </p:nvSpPr>
        <p:spPr>
          <a:xfrm>
            <a:off x="1" y="6311902"/>
            <a:ext cx="12191999" cy="57302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60933" rIns="121900" bIns="60933" anchor="ctr" anchorCtr="0"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lang="en-US"/>
            </a:defPPr>
            <a:lvl1pPr marL="0" marR="0" lvl="0" algn="ctr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675" b="0" i="0" u="none" strike="noStrike" kern="1200" cap="none">
                <a:solidFill>
                  <a:srgbClr val="FFFFF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457200" marR="0" lvl="1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914400" marR="0" lvl="2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371600" marR="0" lvl="3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1828800" marR="0" lvl="4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286000" marR="0" lvl="5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2743200" marR="0" lvl="6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200400" marR="0" lvl="7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3657600" marR="0" lvl="8" algn="l" defTabSz="4572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kern="1200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r>
              <a:rPr lang="en-US" sz="900">
                <a:latin typeface="Arial" panose="020B0604020202020204" pitchFamily="34" charset="0"/>
                <a:cs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21870599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20" r:id="rId2"/>
    <p:sldLayoutId id="2147483725" r:id="rId3"/>
    <p:sldLayoutId id="2147483726" r:id="rId4"/>
    <p:sldLayoutId id="2147483711" r:id="rId5"/>
    <p:sldLayoutId id="2147483727" r:id="rId6"/>
    <p:sldLayoutId id="2147483712" r:id="rId7"/>
    <p:sldLayoutId id="2147483724" r:id="rId8"/>
    <p:sldLayoutId id="2147483721" r:id="rId9"/>
    <p:sldLayoutId id="2147483722" r:id="rId10"/>
    <p:sldLayoutId id="2147483710" r:id="rId11"/>
    <p:sldLayoutId id="2147483714" r:id="rId12"/>
    <p:sldLayoutId id="2147483723" r:id="rId13"/>
    <p:sldLayoutId id="2147483773" r:id="rId14"/>
    <p:sldLayoutId id="2147483774" r:id="rId15"/>
    <p:sldLayoutId id="2147483775" r:id="rId16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000" b="1" i="0" kern="1200">
          <a:solidFill>
            <a:srgbClr val="4D565E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594" indent="-228594" algn="l" defTabSz="914377" rtl="0" eaLnBrk="1" latinLnBrk="0" hangingPunct="1">
        <a:lnSpc>
          <a:spcPts val="2133"/>
        </a:lnSpc>
        <a:spcBef>
          <a:spcPts val="1000"/>
        </a:spcBef>
        <a:buClr>
          <a:schemeClr val="accent2"/>
        </a:buClr>
        <a:buFont typeface="Wingdings" pitchFamily="2" charset="2"/>
        <a:buChar char="§"/>
        <a:defRPr sz="1667" kern="1200">
          <a:solidFill>
            <a:srgbClr val="2D394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Clr>
          <a:srgbClr val="2D3943"/>
        </a:buClr>
        <a:buFont typeface="System Font Regular"/>
        <a:buChar char="–"/>
        <a:defRPr sz="1667" kern="1200">
          <a:solidFill>
            <a:srgbClr val="2D394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67" kern="1200">
          <a:solidFill>
            <a:srgbClr val="2D394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200" kern="1200">
          <a:solidFill>
            <a:srgbClr val="2D394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933" kern="1200">
          <a:solidFill>
            <a:srgbClr val="2D3943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13" Type="http://schemas.openxmlformats.org/officeDocument/2006/relationships/image" Target="../media/image44.png"/><Relationship Id="rId18" Type="http://schemas.openxmlformats.org/officeDocument/2006/relationships/image" Target="../media/image49.png"/><Relationship Id="rId3" Type="http://schemas.openxmlformats.org/officeDocument/2006/relationships/oleObject" Target="../embeddings/oleObject26.bin"/><Relationship Id="rId7" Type="http://schemas.openxmlformats.org/officeDocument/2006/relationships/image" Target="../media/image38.png"/><Relationship Id="rId12" Type="http://schemas.openxmlformats.org/officeDocument/2006/relationships/image" Target="../media/image43.png"/><Relationship Id="rId17" Type="http://schemas.openxmlformats.org/officeDocument/2006/relationships/image" Target="../media/image48.png"/><Relationship Id="rId2" Type="http://schemas.openxmlformats.org/officeDocument/2006/relationships/slideLayout" Target="../slideLayouts/slideLayout11.xml"/><Relationship Id="rId16" Type="http://schemas.openxmlformats.org/officeDocument/2006/relationships/image" Target="../media/image47.png"/><Relationship Id="rId20" Type="http://schemas.openxmlformats.org/officeDocument/2006/relationships/image" Target="../media/image18.png"/><Relationship Id="rId1" Type="http://schemas.openxmlformats.org/officeDocument/2006/relationships/tags" Target="../tags/tag22.xml"/><Relationship Id="rId6" Type="http://schemas.openxmlformats.org/officeDocument/2006/relationships/image" Target="../media/image37.png"/><Relationship Id="rId11" Type="http://schemas.openxmlformats.org/officeDocument/2006/relationships/image" Target="../media/image42.png"/><Relationship Id="rId5" Type="http://schemas.openxmlformats.org/officeDocument/2006/relationships/image" Target="../media/image36.png"/><Relationship Id="rId15" Type="http://schemas.openxmlformats.org/officeDocument/2006/relationships/image" Target="../media/image46.png"/><Relationship Id="rId10" Type="http://schemas.openxmlformats.org/officeDocument/2006/relationships/image" Target="../media/image41.png"/><Relationship Id="rId19" Type="http://schemas.openxmlformats.org/officeDocument/2006/relationships/image" Target="../media/image17.png"/><Relationship Id="rId4" Type="http://schemas.openxmlformats.org/officeDocument/2006/relationships/image" Target="../media/image1.emf"/><Relationship Id="rId9" Type="http://schemas.openxmlformats.org/officeDocument/2006/relationships/image" Target="../media/image40.png"/><Relationship Id="rId14" Type="http://schemas.openxmlformats.org/officeDocument/2006/relationships/image" Target="../media/image45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oleObject" Target="../embeddings/oleObject27.bin"/><Relationship Id="rId7" Type="http://schemas.openxmlformats.org/officeDocument/2006/relationships/image" Target="../media/image51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3.xml"/><Relationship Id="rId6" Type="http://schemas.openxmlformats.org/officeDocument/2006/relationships/image" Target="../media/image50.emf"/><Relationship Id="rId5" Type="http://schemas.openxmlformats.org/officeDocument/2006/relationships/oleObject" Target="../embeddings/oleObject28.bin"/><Relationship Id="rId10" Type="http://schemas.openxmlformats.org/officeDocument/2006/relationships/image" Target="../media/image53.png"/><Relationship Id="rId4" Type="http://schemas.openxmlformats.org/officeDocument/2006/relationships/image" Target="../media/image1.emf"/><Relationship Id="rId9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oleObject" Target="../embeddings/oleObject29.bin"/><Relationship Id="rId7" Type="http://schemas.openxmlformats.org/officeDocument/2006/relationships/image" Target="../media/image55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4.xml"/><Relationship Id="rId6" Type="http://schemas.openxmlformats.org/officeDocument/2006/relationships/image" Target="../media/image54.png"/><Relationship Id="rId5" Type="http://schemas.openxmlformats.org/officeDocument/2006/relationships/image" Target="../media/image51.png"/><Relationship Id="rId10" Type="http://schemas.openxmlformats.org/officeDocument/2006/relationships/image" Target="../media/image18.png"/><Relationship Id="rId4" Type="http://schemas.openxmlformats.org/officeDocument/2006/relationships/image" Target="../media/image1.emf"/><Relationship Id="rId9" Type="http://schemas.openxmlformats.org/officeDocument/2006/relationships/image" Target="../media/image1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25.xml"/><Relationship Id="rId6" Type="http://schemas.openxmlformats.org/officeDocument/2006/relationships/image" Target="../media/image57.png"/><Relationship Id="rId5" Type="http://schemas.openxmlformats.org/officeDocument/2006/relationships/image" Target="../media/image52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7" Type="http://schemas.microsoft.com/office/2007/relationships/hdphoto" Target="../media/hdphoto1.wdp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14.xml"/><Relationship Id="rId6" Type="http://schemas.openxmlformats.org/officeDocument/2006/relationships/image" Target="../media/image11.png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5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Relationship Id="rId9" Type="http://schemas.openxmlformats.org/officeDocument/2006/relationships/image" Target="../media/image14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.bin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5.emf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6.xml"/><Relationship Id="rId6" Type="http://schemas.openxmlformats.org/officeDocument/2006/relationships/oleObject" Target="../embeddings/oleObject15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Relationship Id="rId9" Type="http://schemas.openxmlformats.org/officeDocument/2006/relationships/image" Target="../media/image16.emf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FD867_DBA41DEA.xml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7.x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13" Type="http://schemas.openxmlformats.org/officeDocument/2006/relationships/image" Target="../media/image25.png"/><Relationship Id="rId3" Type="http://schemas.microsoft.com/office/2018/10/relationships/comments" Target="../comments/modernComment_7FFFD869_409C18E.xml"/><Relationship Id="rId7" Type="http://schemas.openxmlformats.org/officeDocument/2006/relationships/image" Target="../media/image19.png"/><Relationship Id="rId12" Type="http://schemas.openxmlformats.org/officeDocument/2006/relationships/image" Target="../media/image24.png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8.xml"/><Relationship Id="rId6" Type="http://schemas.openxmlformats.org/officeDocument/2006/relationships/image" Target="../media/image17.png"/><Relationship Id="rId11" Type="http://schemas.openxmlformats.org/officeDocument/2006/relationships/image" Target="../media/image23.png"/><Relationship Id="rId5" Type="http://schemas.openxmlformats.org/officeDocument/2006/relationships/image" Target="../media/image1.emf"/><Relationship Id="rId10" Type="http://schemas.openxmlformats.org/officeDocument/2006/relationships/image" Target="../media/image22.png"/><Relationship Id="rId4" Type="http://schemas.openxmlformats.org/officeDocument/2006/relationships/oleObject" Target="../embeddings/oleObject18.bin"/><Relationship Id="rId9" Type="http://schemas.openxmlformats.org/officeDocument/2006/relationships/image" Target="../media/image21.png"/><Relationship Id="rId14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emf"/><Relationship Id="rId13" Type="http://schemas.openxmlformats.org/officeDocument/2006/relationships/image" Target="../media/image23.png"/><Relationship Id="rId18" Type="http://schemas.openxmlformats.org/officeDocument/2006/relationships/image" Target="../media/image18.png"/><Relationship Id="rId3" Type="http://schemas.openxmlformats.org/officeDocument/2006/relationships/notesSlide" Target="../notesSlides/notesSlide3.xml"/><Relationship Id="rId7" Type="http://schemas.openxmlformats.org/officeDocument/2006/relationships/oleObject" Target="../embeddings/oleObject20.bin"/><Relationship Id="rId12" Type="http://schemas.openxmlformats.org/officeDocument/2006/relationships/image" Target="../media/image22.png"/><Relationship Id="rId17" Type="http://schemas.openxmlformats.org/officeDocument/2006/relationships/image" Target="../media/image17.png"/><Relationship Id="rId2" Type="http://schemas.openxmlformats.org/officeDocument/2006/relationships/slideLayout" Target="../slideLayouts/slideLayout11.xml"/><Relationship Id="rId16" Type="http://schemas.openxmlformats.org/officeDocument/2006/relationships/image" Target="../media/image27.jpeg"/><Relationship Id="rId1" Type="http://schemas.openxmlformats.org/officeDocument/2006/relationships/tags" Target="../tags/tag19.xml"/><Relationship Id="rId6" Type="http://schemas.openxmlformats.org/officeDocument/2006/relationships/image" Target="../media/image1.emf"/><Relationship Id="rId11" Type="http://schemas.openxmlformats.org/officeDocument/2006/relationships/image" Target="../media/image21.png"/><Relationship Id="rId5" Type="http://schemas.openxmlformats.org/officeDocument/2006/relationships/oleObject" Target="../embeddings/oleObject19.bin"/><Relationship Id="rId15" Type="http://schemas.openxmlformats.org/officeDocument/2006/relationships/image" Target="../media/image25.png"/><Relationship Id="rId10" Type="http://schemas.openxmlformats.org/officeDocument/2006/relationships/image" Target="../media/image20.png"/><Relationship Id="rId4" Type="http://schemas.microsoft.com/office/2018/10/relationships/comments" Target="../comments/modernComment_7FFFD868_A94B6C6C.xml"/><Relationship Id="rId9" Type="http://schemas.openxmlformats.org/officeDocument/2006/relationships/image" Target="../media/image19.png"/><Relationship Id="rId14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13" Type="http://schemas.openxmlformats.org/officeDocument/2006/relationships/image" Target="../media/image23.png"/><Relationship Id="rId18" Type="http://schemas.openxmlformats.org/officeDocument/2006/relationships/oleObject" Target="../embeddings/oleObject22.bin"/><Relationship Id="rId3" Type="http://schemas.openxmlformats.org/officeDocument/2006/relationships/notesSlide" Target="../notesSlides/notesSlide4.xml"/><Relationship Id="rId21" Type="http://schemas.openxmlformats.org/officeDocument/2006/relationships/image" Target="../media/image32.emf"/><Relationship Id="rId7" Type="http://schemas.openxmlformats.org/officeDocument/2006/relationships/image" Target="../media/image29.png"/><Relationship Id="rId12" Type="http://schemas.openxmlformats.org/officeDocument/2006/relationships/image" Target="../media/image22.png"/><Relationship Id="rId17" Type="http://schemas.openxmlformats.org/officeDocument/2006/relationships/image" Target="../media/image18.png"/><Relationship Id="rId2" Type="http://schemas.openxmlformats.org/officeDocument/2006/relationships/slideLayout" Target="../slideLayouts/slideLayout11.xml"/><Relationship Id="rId16" Type="http://schemas.openxmlformats.org/officeDocument/2006/relationships/image" Target="../media/image17.png"/><Relationship Id="rId20" Type="http://schemas.openxmlformats.org/officeDocument/2006/relationships/oleObject" Target="../embeddings/oleObject23.bin"/><Relationship Id="rId1" Type="http://schemas.openxmlformats.org/officeDocument/2006/relationships/tags" Target="../tags/tag20.xml"/><Relationship Id="rId6" Type="http://schemas.openxmlformats.org/officeDocument/2006/relationships/image" Target="../media/image28.png"/><Relationship Id="rId11" Type="http://schemas.openxmlformats.org/officeDocument/2006/relationships/image" Target="../media/image21.png"/><Relationship Id="rId5" Type="http://schemas.openxmlformats.org/officeDocument/2006/relationships/image" Target="../media/image1.emf"/><Relationship Id="rId15" Type="http://schemas.openxmlformats.org/officeDocument/2006/relationships/image" Target="../media/image25.png"/><Relationship Id="rId10" Type="http://schemas.openxmlformats.org/officeDocument/2006/relationships/image" Target="../media/image20.png"/><Relationship Id="rId19" Type="http://schemas.openxmlformats.org/officeDocument/2006/relationships/image" Target="../media/image31.emf"/><Relationship Id="rId4" Type="http://schemas.openxmlformats.org/officeDocument/2006/relationships/oleObject" Target="../embeddings/oleObject21.bin"/><Relationship Id="rId9" Type="http://schemas.openxmlformats.org/officeDocument/2006/relationships/image" Target="../media/image19.png"/><Relationship Id="rId14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13" Type="http://schemas.openxmlformats.org/officeDocument/2006/relationships/image" Target="../media/image22.png"/><Relationship Id="rId18" Type="http://schemas.openxmlformats.org/officeDocument/2006/relationships/image" Target="../media/image18.png"/><Relationship Id="rId3" Type="http://schemas.microsoft.com/office/2018/10/relationships/comments" Target="../comments/modernComment_7FFFD860_9A23C0E2.xml"/><Relationship Id="rId7" Type="http://schemas.openxmlformats.org/officeDocument/2006/relationships/image" Target="../media/image33.emf"/><Relationship Id="rId12" Type="http://schemas.openxmlformats.org/officeDocument/2006/relationships/image" Target="../media/image21.png"/><Relationship Id="rId17" Type="http://schemas.openxmlformats.org/officeDocument/2006/relationships/image" Target="../media/image17.png"/><Relationship Id="rId2" Type="http://schemas.openxmlformats.org/officeDocument/2006/relationships/slideLayout" Target="../slideLayouts/slideLayout11.xml"/><Relationship Id="rId16" Type="http://schemas.openxmlformats.org/officeDocument/2006/relationships/image" Target="../media/image25.png"/><Relationship Id="rId1" Type="http://schemas.openxmlformats.org/officeDocument/2006/relationships/tags" Target="../tags/tag21.xml"/><Relationship Id="rId6" Type="http://schemas.openxmlformats.org/officeDocument/2006/relationships/oleObject" Target="../embeddings/oleObject25.bin"/><Relationship Id="rId11" Type="http://schemas.openxmlformats.org/officeDocument/2006/relationships/image" Target="../media/image20.png"/><Relationship Id="rId5" Type="http://schemas.openxmlformats.org/officeDocument/2006/relationships/image" Target="../media/image1.emf"/><Relationship Id="rId15" Type="http://schemas.openxmlformats.org/officeDocument/2006/relationships/image" Target="../media/image24.png"/><Relationship Id="rId10" Type="http://schemas.openxmlformats.org/officeDocument/2006/relationships/image" Target="../media/image19.png"/><Relationship Id="rId4" Type="http://schemas.openxmlformats.org/officeDocument/2006/relationships/oleObject" Target="../embeddings/oleObject24.bin"/><Relationship Id="rId9" Type="http://schemas.openxmlformats.org/officeDocument/2006/relationships/image" Target="../media/image35.png"/><Relationship Id="rId1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AB4D6E8D-1BD0-2965-2AC5-C18C9D4A177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775527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3" imgH="503" progId="TCLayout.ActiveDocument.1">
                  <p:embed/>
                </p:oleObj>
              </mc:Choice>
              <mc:Fallback>
                <p:oleObj name="think-cell Slide" r:id="rId3" imgW="503" imgH="503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B4D6E8D-1BD0-2965-2AC5-C18C9D4A177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324A144-850F-84CC-BE60-0A27E7CDE9E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53568" y="4069676"/>
            <a:ext cx="11375136" cy="1193800"/>
          </a:xfrm>
        </p:spPr>
        <p:txBody>
          <a:bodyPr vert="horz"/>
          <a:lstStyle/>
          <a:p>
            <a:r>
              <a:rPr lang="en-US" sz="2300" b="0">
                <a:solidFill>
                  <a:srgbClr val="000000"/>
                </a:solidFill>
                <a:latin typeface="Arial"/>
                <a:cs typeface="Arial"/>
              </a:rPr>
              <a:t>Development of a Flexible High Yielding, High Performing Process for Manufacturing of AFTX-201, a Novel Investigational AAV Gene Therapy for Treatment of BAG3 Dilated Cardiomyopathy</a:t>
            </a:r>
            <a:endParaRPr lang="en-US" sz="230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0804056-F4FA-5D82-E552-462B380EE3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53568" y="5554789"/>
            <a:ext cx="11375136" cy="716538"/>
          </a:xfrm>
        </p:spPr>
        <p:txBody>
          <a:bodyPr/>
          <a:lstStyle/>
          <a:p>
            <a:r>
              <a:rPr lang="en-US" sz="1800"/>
              <a:t>2025 ASGCT</a:t>
            </a:r>
          </a:p>
          <a:p>
            <a:r>
              <a:rPr lang="en-US" sz="1800"/>
              <a:t>Matt Edwards, VP Process Science</a:t>
            </a:r>
          </a:p>
        </p:txBody>
      </p:sp>
    </p:spTree>
    <p:extLst>
      <p:ext uri="{BB962C8B-B14F-4D97-AF65-F5344CB8AC3E}">
        <p14:creationId xmlns:p14="http://schemas.microsoft.com/office/powerpoint/2010/main" val="68657832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3CE0D41A-7927-042C-5877-29CBF04B60B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9504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3" imgH="503" progId="TCLayout.ActiveDocument.1">
                  <p:embed/>
                </p:oleObj>
              </mc:Choice>
              <mc:Fallback>
                <p:oleObj name="think-cell Slide" r:id="rId3" imgW="503" imgH="50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CE0D41A-7927-042C-5877-29CBF04B60B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1" name="Group 50">
            <a:extLst>
              <a:ext uri="{FF2B5EF4-FFF2-40B4-BE49-F238E27FC236}">
                <a16:creationId xmlns:a16="http://schemas.microsoft.com/office/drawing/2014/main" id="{FF798DFF-0829-6103-8903-D720690E0F99}"/>
              </a:ext>
            </a:extLst>
          </p:cNvPr>
          <p:cNvGrpSpPr/>
          <p:nvPr/>
        </p:nvGrpSpPr>
        <p:grpSpPr>
          <a:xfrm>
            <a:off x="327191" y="3465840"/>
            <a:ext cx="6559722" cy="2863114"/>
            <a:chOff x="327191" y="3465840"/>
            <a:chExt cx="6219603" cy="2729320"/>
          </a:xfrm>
        </p:grpSpPr>
        <p:pic>
          <p:nvPicPr>
            <p:cNvPr id="39" name="Picture 38" descr="A graph with red and blue lines&#10;&#10;AI-generated content may be incorrect.">
              <a:extLst>
                <a:ext uri="{FF2B5EF4-FFF2-40B4-BE49-F238E27FC236}">
                  <a16:creationId xmlns:a16="http://schemas.microsoft.com/office/drawing/2014/main" id="{8493811A-0799-C0B1-097C-C1123091BDF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 l="66608"/>
            <a:stretch/>
          </p:blipFill>
          <p:spPr>
            <a:xfrm>
              <a:off x="3479012" y="3465840"/>
              <a:ext cx="3067782" cy="2505590"/>
            </a:xfrm>
            <a:prstGeom prst="rect">
              <a:avLst/>
            </a:prstGeom>
          </p:spPr>
        </p:pic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3698E865-7E0F-5588-DC3E-A41C87FDC993}"/>
                </a:ext>
              </a:extLst>
            </p:cNvPr>
            <p:cNvSpPr txBox="1"/>
            <p:nvPr/>
          </p:nvSpPr>
          <p:spPr>
            <a:xfrm>
              <a:off x="989499" y="5901766"/>
              <a:ext cx="1338922" cy="293394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sz="1400" b="1">
                  <a:cs typeface="Arial"/>
                </a:rPr>
                <a:t>AFTX Lot 2</a:t>
              </a:r>
            </a:p>
          </p:txBody>
        </p:sp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7926E946-8FE4-2329-3BAA-4C4CF4B1366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rcRect l="67270"/>
            <a:stretch/>
          </p:blipFill>
          <p:spPr>
            <a:xfrm>
              <a:off x="327191" y="3465840"/>
              <a:ext cx="3160266" cy="2505590"/>
            </a:xfrm>
            <a:prstGeom prst="rect">
              <a:avLst/>
            </a:prstGeom>
          </p:spPr>
        </p:pic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4454BB35-6542-498E-EC98-9F75B151A144}"/>
                </a:ext>
              </a:extLst>
            </p:cNvPr>
            <p:cNvSpPr txBox="1"/>
            <p:nvPr/>
          </p:nvSpPr>
          <p:spPr>
            <a:xfrm>
              <a:off x="4289390" y="5884121"/>
              <a:ext cx="1338922" cy="293394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sz="1400" b="1">
                  <a:cs typeface="Arial"/>
                </a:rPr>
                <a:t>Forge Lot 2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C963E29-61E8-74CC-3F31-E455E317A1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191" y="126350"/>
            <a:ext cx="11472672" cy="534968"/>
          </a:xfrm>
        </p:spPr>
        <p:txBody>
          <a:bodyPr vert="horz"/>
          <a:lstStyle/>
          <a:p>
            <a:r>
              <a:rPr lang="en-US"/>
              <a:t>Potency assay for AFTX-201 developed to help support process development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8AA3A78D-7CB3-D5D8-2D10-2CA1D8D2A211}"/>
              </a:ext>
            </a:extLst>
          </p:cNvPr>
          <p:cNvGrpSpPr/>
          <p:nvPr/>
        </p:nvGrpSpPr>
        <p:grpSpPr>
          <a:xfrm>
            <a:off x="8022850" y="3222948"/>
            <a:ext cx="3687597" cy="2968950"/>
            <a:chOff x="7666866" y="2839209"/>
            <a:chExt cx="4409022" cy="3476984"/>
          </a:xfrm>
        </p:grpSpPr>
        <p:pic>
          <p:nvPicPr>
            <p:cNvPr id="29" name="Picture 28" descr="A close-up of a test tube&#10;&#10;AI-generated content may be incorrect.">
              <a:extLst>
                <a:ext uri="{FF2B5EF4-FFF2-40B4-BE49-F238E27FC236}">
                  <a16:creationId xmlns:a16="http://schemas.microsoft.com/office/drawing/2014/main" id="{F929F62E-83B3-676A-CB94-D52229F08B7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0123263" y="2839209"/>
              <a:ext cx="1952625" cy="1314450"/>
            </a:xfrm>
            <a:prstGeom prst="rect">
              <a:avLst/>
            </a:prstGeom>
          </p:spPr>
        </p:pic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494C31E8-420E-37EC-31E5-56B0CD3748F2}"/>
                </a:ext>
              </a:extLst>
            </p:cNvPr>
            <p:cNvSpPr txBox="1"/>
            <p:nvPr/>
          </p:nvSpPr>
          <p:spPr>
            <a:xfrm>
              <a:off x="9967490" y="4303627"/>
              <a:ext cx="1952623" cy="360442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sz="1400">
                  <a:cs typeface="Arial"/>
                </a:rPr>
                <a:t>Protein extraction</a:t>
              </a:r>
              <a:endParaRPr lang="en-US"/>
            </a:p>
          </p:txBody>
        </p:sp>
        <p:pic>
          <p:nvPicPr>
            <p:cNvPr id="31" name="Picture 30" descr="A white rectangular box with a purple band&#10;&#10;AI-generated content may be incorrect.">
              <a:extLst>
                <a:ext uri="{FF2B5EF4-FFF2-40B4-BE49-F238E27FC236}">
                  <a16:creationId xmlns:a16="http://schemas.microsoft.com/office/drawing/2014/main" id="{E5A92D26-A8CF-D681-00A0-C98738B8E98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666866" y="4814044"/>
              <a:ext cx="1430268" cy="1012938"/>
            </a:xfrm>
            <a:prstGeom prst="rect">
              <a:avLst/>
            </a:prstGeom>
          </p:spPr>
        </p:pic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383EBCEC-1270-385B-9505-6EF2C7D90EBA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9591717" y="5008043"/>
              <a:ext cx="1053398" cy="955366"/>
            </a:xfrm>
            <a:prstGeom prst="rect">
              <a:avLst/>
            </a:prstGeom>
          </p:spPr>
        </p:pic>
        <p:pic>
          <p:nvPicPr>
            <p:cNvPr id="33" name="Picture 32" descr="A drawing of a dog&#10;&#10;AI-generated content may be incorrect.">
              <a:extLst>
                <a:ext uri="{FF2B5EF4-FFF2-40B4-BE49-F238E27FC236}">
                  <a16:creationId xmlns:a16="http://schemas.microsoft.com/office/drawing/2014/main" id="{0A23191E-065F-8B73-6AD8-5B398F97292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10987466" y="5318952"/>
              <a:ext cx="649050" cy="495385"/>
            </a:xfrm>
            <a:prstGeom prst="rect">
              <a:avLst/>
            </a:prstGeom>
          </p:spPr>
        </p:pic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F1F89EE5-594F-6839-7829-08B2EC048921}"/>
                </a:ext>
              </a:extLst>
            </p:cNvPr>
            <p:cNvSpPr txBox="1"/>
            <p:nvPr/>
          </p:nvSpPr>
          <p:spPr>
            <a:xfrm>
              <a:off x="8474970" y="5955751"/>
              <a:ext cx="2837901" cy="360442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sz="1400">
                  <a:cs typeface="Arial"/>
                </a:rPr>
                <a:t>Protein expression- ELISA</a:t>
              </a:r>
              <a:endParaRPr lang="en-US"/>
            </a:p>
          </p:txBody>
        </p:sp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7EBE9851-359C-7E1C-2B69-0C073C87DF52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10803583" y="4723935"/>
              <a:ext cx="295275" cy="599739"/>
            </a:xfrm>
            <a:prstGeom prst="rect">
              <a:avLst/>
            </a:prstGeom>
          </p:spPr>
        </p:pic>
      </p:grpSp>
      <p:pic>
        <p:nvPicPr>
          <p:cNvPr id="38" name="Picture 37">
            <a:extLst>
              <a:ext uri="{FF2B5EF4-FFF2-40B4-BE49-F238E27FC236}">
                <a16:creationId xmlns:a16="http://schemas.microsoft.com/office/drawing/2014/main" id="{F5ADDAD3-A628-F37A-E8ED-1855CA5C7F67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886913" y="5192729"/>
            <a:ext cx="895350" cy="295275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8F319775-7F8D-9216-5CB5-EE2A50F25F93}"/>
              </a:ext>
            </a:extLst>
          </p:cNvPr>
          <p:cNvGrpSpPr/>
          <p:nvPr/>
        </p:nvGrpSpPr>
        <p:grpSpPr>
          <a:xfrm>
            <a:off x="1025717" y="1168842"/>
            <a:ext cx="9967391" cy="1995905"/>
            <a:chOff x="551185" y="501368"/>
            <a:chExt cx="10768560" cy="2279043"/>
          </a:xfrm>
        </p:grpSpPr>
        <p:pic>
          <p:nvPicPr>
            <p:cNvPr id="8" name="Picture 7" descr="A close-up of a bottle&#10;&#10;AI-generated content may be incorrect.">
              <a:extLst>
                <a:ext uri="{FF2B5EF4-FFF2-40B4-BE49-F238E27FC236}">
                  <a16:creationId xmlns:a16="http://schemas.microsoft.com/office/drawing/2014/main" id="{294D22CD-2DED-C556-4FBC-B3385A8AD88C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rcRect r="7407" b="990"/>
            <a:stretch/>
          </p:blipFill>
          <p:spPr>
            <a:xfrm>
              <a:off x="551185" y="1381841"/>
              <a:ext cx="334203" cy="668747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0B56468D-ABC5-C14B-7C7F-A764993D33D7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903821" y="1568548"/>
              <a:ext cx="714375" cy="295275"/>
            </a:xfrm>
            <a:prstGeom prst="rect">
              <a:avLst/>
            </a:prstGeom>
          </p:spPr>
        </p:pic>
        <p:pic>
          <p:nvPicPr>
            <p:cNvPr id="11" name="Picture 10" descr="A pink circles on a white surface&#10;&#10;AI-generated content may be incorrect.">
              <a:extLst>
                <a:ext uri="{FF2B5EF4-FFF2-40B4-BE49-F238E27FC236}">
                  <a16:creationId xmlns:a16="http://schemas.microsoft.com/office/drawing/2014/main" id="{D770BB43-1693-1726-8E64-FB4F983CDFB0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/>
            <a:srcRect r="379" b="5076"/>
            <a:stretch/>
          </p:blipFill>
          <p:spPr>
            <a:xfrm>
              <a:off x="1503179" y="1079485"/>
              <a:ext cx="1767966" cy="1266372"/>
            </a:xfrm>
            <a:prstGeom prst="rect">
              <a:avLst/>
            </a:prstGeom>
          </p:spPr>
        </p:pic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AC01F2A-45E4-AADF-8F3C-6AEA03BEBCB1}"/>
                </a:ext>
              </a:extLst>
            </p:cNvPr>
            <p:cNvSpPr txBox="1"/>
            <p:nvPr/>
          </p:nvSpPr>
          <p:spPr>
            <a:xfrm>
              <a:off x="1770258" y="2411684"/>
              <a:ext cx="1406071" cy="351438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sz="1400">
                  <a:cs typeface="Arial"/>
                </a:rPr>
                <a:t>Cell plating</a:t>
              </a:r>
              <a:endParaRPr lang="en-US">
                <a:cs typeface="Arial"/>
              </a:endParaRP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B161DBEA-81C5-DF21-7A8A-DE080247522B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3500016" y="1568548"/>
              <a:ext cx="714375" cy="295275"/>
            </a:xfrm>
            <a:prstGeom prst="rect">
              <a:avLst/>
            </a:prstGeom>
          </p:spPr>
        </p:pic>
        <p:pic>
          <p:nvPicPr>
            <p:cNvPr id="16" name="Picture 15" descr="A transparent container with a grid&#10;&#10;AI-generated content may be incorrect.">
              <a:extLst>
                <a:ext uri="{FF2B5EF4-FFF2-40B4-BE49-F238E27FC236}">
                  <a16:creationId xmlns:a16="http://schemas.microsoft.com/office/drawing/2014/main" id="{5C2AB1B7-3E2B-A59C-C48D-91B1BEE430A7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4147126" y="1030386"/>
              <a:ext cx="1685925" cy="1371600"/>
            </a:xfrm>
            <a:prstGeom prst="rect">
              <a:avLst/>
            </a:prstGeom>
          </p:spPr>
        </p:pic>
        <p:pic>
          <p:nvPicPr>
            <p:cNvPr id="18" name="Picture 17" descr="A test tube with blue balls&#10;&#10;AI-generated content may be incorrect.">
              <a:extLst>
                <a:ext uri="{FF2B5EF4-FFF2-40B4-BE49-F238E27FC236}">
                  <a16:creationId xmlns:a16="http://schemas.microsoft.com/office/drawing/2014/main" id="{3CFBFBE5-7C9A-ACEC-890A-946DB4F36522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4322748" y="501368"/>
              <a:ext cx="451300" cy="662873"/>
            </a:xfrm>
            <a:prstGeom prst="rect">
              <a:avLst/>
            </a:prstGeom>
          </p:spPr>
        </p:pic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6020C9C3-AFE1-EAA9-0B8E-F3F85AB74E25}"/>
                </a:ext>
              </a:extLst>
            </p:cNvPr>
            <p:cNvSpPr txBox="1"/>
            <p:nvPr/>
          </p:nvSpPr>
          <p:spPr>
            <a:xfrm>
              <a:off x="4033330" y="2428973"/>
              <a:ext cx="1834869" cy="351438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sz="1400">
                  <a:cs typeface="Arial"/>
                </a:rPr>
                <a:t>Viral serial dilution</a:t>
              </a:r>
              <a:endParaRPr lang="en-US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6820DAE-0394-5AC9-1489-84004C51C1A2}"/>
                </a:ext>
              </a:extLst>
            </p:cNvPr>
            <p:cNvSpPr txBox="1"/>
            <p:nvPr/>
          </p:nvSpPr>
          <p:spPr>
            <a:xfrm>
              <a:off x="3435501" y="653223"/>
              <a:ext cx="421219" cy="253916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sz="1050">
                  <a:cs typeface="Arial"/>
                </a:rPr>
                <a:t>RS</a:t>
              </a:r>
              <a:endParaRPr lang="en-US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7DBE345B-DD58-87C8-0898-8C80CB89AF3A}"/>
                </a:ext>
              </a:extLst>
            </p:cNvPr>
            <p:cNvSpPr txBox="1"/>
            <p:nvPr/>
          </p:nvSpPr>
          <p:spPr>
            <a:xfrm>
              <a:off x="4777430" y="504868"/>
              <a:ext cx="421219" cy="253916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sz="1050">
                  <a:cs typeface="Arial"/>
                </a:rPr>
                <a:t>TA</a:t>
              </a:r>
              <a:endParaRPr lang="en-US"/>
            </a:p>
          </p:txBody>
        </p:sp>
        <p:pic>
          <p:nvPicPr>
            <p:cNvPr id="23" name="Picture 22" descr="A test tube with blue balls&#10;&#10;AI-generated content may be incorrect.">
              <a:extLst>
                <a:ext uri="{FF2B5EF4-FFF2-40B4-BE49-F238E27FC236}">
                  <a16:creationId xmlns:a16="http://schemas.microsoft.com/office/drawing/2014/main" id="{DA1FD3EB-967E-768E-AFBD-2C572E94948A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3763048" y="696925"/>
              <a:ext cx="451300" cy="662873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93D41541-7474-3F8D-D5B4-1ABCB166BDD9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6096210" y="1568548"/>
              <a:ext cx="714375" cy="295275"/>
            </a:xfrm>
            <a:prstGeom prst="rect">
              <a:avLst/>
            </a:prstGeom>
          </p:spPr>
        </p:pic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214CDF6A-32BC-C314-6D08-B97FDC77E894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6883498" y="651366"/>
              <a:ext cx="3334172" cy="1725037"/>
            </a:xfrm>
            <a:prstGeom prst="rect">
              <a:avLst/>
            </a:prstGeom>
          </p:spPr>
        </p:pic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9FA62DFF-0686-6B59-C9D5-22F3D013CCA2}"/>
                </a:ext>
              </a:extLst>
            </p:cNvPr>
            <p:cNvSpPr txBox="1"/>
            <p:nvPr/>
          </p:nvSpPr>
          <p:spPr>
            <a:xfrm>
              <a:off x="6885773" y="2428972"/>
              <a:ext cx="954266" cy="307777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sz="1400">
                  <a:cs typeface="Arial"/>
                </a:rPr>
                <a:t>Infection</a:t>
              </a:r>
              <a:endParaRPr lang="en-US"/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21AF16AF-390B-3007-015F-1C08D50F2103}"/>
                </a:ext>
              </a:extLst>
            </p:cNvPr>
            <p:cNvSpPr txBox="1"/>
            <p:nvPr/>
          </p:nvSpPr>
          <p:spPr>
            <a:xfrm>
              <a:off x="8382799" y="2428973"/>
              <a:ext cx="1834870" cy="351438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sz="1400">
                  <a:cs typeface="Arial"/>
                </a:rPr>
                <a:t>Incubation at 37</a:t>
              </a:r>
              <a:r>
                <a:rPr lang="en-US" sz="1400">
                  <a:latin typeface="Arial"/>
                  <a:cs typeface="Arial"/>
                </a:rPr>
                <a:t> </a:t>
              </a:r>
              <a:r>
                <a:rPr lang="en-US" sz="1400" baseline="30000">
                  <a:latin typeface="Times New Roman"/>
                  <a:cs typeface="Times New Roman"/>
                </a:rPr>
                <a:t>◦</a:t>
              </a:r>
              <a:r>
                <a:rPr lang="en-US" sz="1400">
                  <a:cs typeface="Arial"/>
                </a:rPr>
                <a:t>C</a:t>
              </a:r>
              <a:endParaRPr lang="en-US"/>
            </a:p>
          </p:txBody>
        </p:sp>
        <p:sp>
          <p:nvSpPr>
            <p:cNvPr id="44" name="Arrow: Bent-Up 43">
              <a:extLst>
                <a:ext uri="{FF2B5EF4-FFF2-40B4-BE49-F238E27FC236}">
                  <a16:creationId xmlns:a16="http://schemas.microsoft.com/office/drawing/2014/main" id="{DF1A19E4-F852-5096-B3A2-F9F862045971}"/>
                </a:ext>
              </a:extLst>
            </p:cNvPr>
            <p:cNvSpPr/>
            <p:nvPr/>
          </p:nvSpPr>
          <p:spPr>
            <a:xfrm rot="10800000" flipH="1">
              <a:off x="10415728" y="1717298"/>
              <a:ext cx="904017" cy="493320"/>
            </a:xfrm>
            <a:prstGeom prst="bentUpArrow">
              <a:avLst>
                <a:gd name="adj1" fmla="val 5267"/>
                <a:gd name="adj2" fmla="val 14476"/>
                <a:gd name="adj3" fmla="val 18423"/>
              </a:avLst>
            </a:prstGeom>
            <a:solidFill>
              <a:srgbClr val="7EBA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pic>
        <p:nvPicPr>
          <p:cNvPr id="52" name="Picture 51">
            <a:extLst>
              <a:ext uri="{FF2B5EF4-FFF2-40B4-BE49-F238E27FC236}">
                <a16:creationId xmlns:a16="http://schemas.microsoft.com/office/drawing/2014/main" id="{12502D91-5B25-E2A5-DB29-1EEE96C9BDCB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1118968" y="18623"/>
            <a:ext cx="1036113" cy="1072048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7BD82374-A746-8AD7-F11F-ADA762FD03A8}"/>
              </a:ext>
            </a:extLst>
          </p:cNvPr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0" y="6325826"/>
            <a:ext cx="1634313" cy="210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88596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6CEFF1-E7D5-957E-FA39-FA1872EE077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AB3AC2C-3678-DF14-C3C9-07A4DD7DDD7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2756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3" imgH="503" progId="TCLayout.ActiveDocument.1">
                  <p:embed/>
                </p:oleObj>
              </mc:Choice>
              <mc:Fallback>
                <p:oleObj name="think-cell Slide" r:id="rId3" imgW="503" imgH="503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AB3AC2C-3678-DF14-C3C9-07A4DD7DDD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B0BAE67-C863-8531-EF62-F0ECE0EA12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1376" y="42161"/>
            <a:ext cx="11472672" cy="835503"/>
          </a:xfrm>
        </p:spPr>
        <p:txBody>
          <a:bodyPr vert="horz"/>
          <a:lstStyle/>
          <a:p>
            <a:r>
              <a:rPr lang="en-US" sz="3200"/>
              <a:t>Process for AFTX-201 was successfully tech transferred to Forge Biologics</a:t>
            </a:r>
          </a:p>
        </p:txBody>
      </p:sp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A30D3114-DCDB-A469-2D26-1163694A82F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89722070"/>
              </p:ext>
            </p:extLst>
          </p:nvPr>
        </p:nvGraphicFramePr>
        <p:xfrm>
          <a:off x="405944" y="1267825"/>
          <a:ext cx="2723693" cy="40153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rism 10" r:id="rId5" imgW="2250128" imgH="3316754" progId="Prism10.Document">
                  <p:embed/>
                </p:oleObj>
              </mc:Choice>
              <mc:Fallback>
                <p:oleObj name="Prism 10" r:id="rId5" imgW="2250128" imgH="3316754" progId="Prism10.Document">
                  <p:embed/>
                  <p:pic>
                    <p:nvPicPr>
                      <p:cNvPr id="4" name="Object 3">
                        <a:extLst>
                          <a:ext uri="{FF2B5EF4-FFF2-40B4-BE49-F238E27FC236}">
                            <a16:creationId xmlns:a16="http://schemas.microsoft.com/office/drawing/2014/main" id="{A30D3114-DCDB-A469-2D26-1163694A82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405944" y="1267825"/>
                        <a:ext cx="2723693" cy="40153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AA12AE82-1BF7-8D43-1464-AF1D1EB9C3A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19950"/>
              </p:ext>
            </p:extLst>
          </p:nvPr>
        </p:nvGraphicFramePr>
        <p:xfrm>
          <a:off x="3520632" y="1408253"/>
          <a:ext cx="8263314" cy="3741969"/>
        </p:xfrm>
        <a:graphic>
          <a:graphicData uri="http://schemas.openxmlformats.org/drawingml/2006/table">
            <a:tbl>
              <a:tblPr firstRow="1" bandRow="1">
                <a:tableStyleId>{9DCAF9ED-07DC-4A11-8D7F-57B35C25682E}</a:tableStyleId>
              </a:tblPr>
              <a:tblGrid>
                <a:gridCol w="2587678">
                  <a:extLst>
                    <a:ext uri="{9D8B030D-6E8A-4147-A177-3AD203B41FA5}">
                      <a16:colId xmlns:a16="http://schemas.microsoft.com/office/drawing/2014/main" val="3553001676"/>
                    </a:ext>
                  </a:extLst>
                </a:gridCol>
                <a:gridCol w="1418909">
                  <a:extLst>
                    <a:ext uri="{9D8B030D-6E8A-4147-A177-3AD203B41FA5}">
                      <a16:colId xmlns:a16="http://schemas.microsoft.com/office/drawing/2014/main" val="2902278956"/>
                    </a:ext>
                  </a:extLst>
                </a:gridCol>
                <a:gridCol w="1418909">
                  <a:extLst>
                    <a:ext uri="{9D8B030D-6E8A-4147-A177-3AD203B41FA5}">
                      <a16:colId xmlns:a16="http://schemas.microsoft.com/office/drawing/2014/main" val="4205619772"/>
                    </a:ext>
                  </a:extLst>
                </a:gridCol>
                <a:gridCol w="1418909">
                  <a:extLst>
                    <a:ext uri="{9D8B030D-6E8A-4147-A177-3AD203B41FA5}">
                      <a16:colId xmlns:a16="http://schemas.microsoft.com/office/drawing/2014/main" val="3214872078"/>
                    </a:ext>
                  </a:extLst>
                </a:gridCol>
                <a:gridCol w="1418909">
                  <a:extLst>
                    <a:ext uri="{9D8B030D-6E8A-4147-A177-3AD203B41FA5}">
                      <a16:colId xmlns:a16="http://schemas.microsoft.com/office/drawing/2014/main" val="903451307"/>
                    </a:ext>
                  </a:extLst>
                </a:gridCol>
              </a:tblGrid>
              <a:tr h="499609"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AFTX Lot 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AFTX Lot 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Forge Lot 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Forge Lot 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62761975"/>
                  </a:ext>
                </a:extLst>
              </a:tr>
              <a:tr h="621962">
                <a:tc>
                  <a:txBody>
                    <a:bodyPr/>
                    <a:lstStyle/>
                    <a:p>
                      <a:r>
                        <a:rPr lang="en-US" sz="1600" err="1"/>
                        <a:t>hcDNA</a:t>
                      </a:r>
                      <a:endParaRPr lang="en-US" sz="160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fontAlgn="b" latinLnBrk="0" hangingPunct="1"/>
                      <a:r>
                        <a:rPr lang="en-US" sz="1600" kern="1200" dirty="0">
                          <a:solidFill>
                            <a:srgbClr val="000000"/>
                          </a:solidFill>
                        </a:rPr>
                        <a:t>5.17e4 </a:t>
                      </a:r>
                      <a:r>
                        <a:rPr lang="en-US" sz="1600" kern="1200" err="1">
                          <a:solidFill>
                            <a:srgbClr val="000000"/>
                          </a:solidFill>
                        </a:rPr>
                        <a:t>pg</a:t>
                      </a:r>
                      <a:r>
                        <a:rPr lang="en-US" sz="1600" kern="1200" dirty="0">
                          <a:solidFill>
                            <a:srgbClr val="000000"/>
                          </a:solidFill>
                        </a:rPr>
                        <a:t> / 1e1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marL="0" algn="ctr" defTabSz="914377" rtl="0" eaLnBrk="1" latinLnBrk="0" hangingPunct="1"/>
                      <a:r>
                        <a:rPr lang="en-US" sz="1600" kern="1200" dirty="0">
                          <a:solidFill>
                            <a:srgbClr val="000000"/>
                          </a:solidFill>
                        </a:rPr>
                        <a:t>Pend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377" rtl="0" eaLnBrk="1" fontAlgn="b" latinLnBrk="0" hangingPunct="1"/>
                      <a:r>
                        <a:rPr lang="en-US" sz="1600" kern="1200" dirty="0">
                          <a:solidFill>
                            <a:srgbClr val="000000"/>
                          </a:solidFill>
                        </a:rPr>
                        <a:t>9.13e3 </a:t>
                      </a:r>
                      <a:r>
                        <a:rPr lang="en-US" sz="1600" kern="1200" err="1">
                          <a:solidFill>
                            <a:srgbClr val="000000"/>
                          </a:solidFill>
                        </a:rPr>
                        <a:t>pg</a:t>
                      </a:r>
                      <a:r>
                        <a:rPr lang="en-US" sz="1600" kern="1200" dirty="0">
                          <a:solidFill>
                            <a:srgbClr val="000000"/>
                          </a:solidFill>
                        </a:rPr>
                        <a:t> / 1e13</a:t>
                      </a:r>
                    </a:p>
                  </a:txBody>
                  <a:tcPr marL="6350" marR="6350" marT="635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2.9e4 </a:t>
                      </a:r>
                      <a:r>
                        <a:rPr lang="en-US" sz="1600" err="1"/>
                        <a:t>pg</a:t>
                      </a:r>
                      <a:r>
                        <a:rPr lang="en-US" sz="1600" dirty="0"/>
                        <a:t> / 1e13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39277418"/>
                  </a:ext>
                </a:extLst>
              </a:tr>
              <a:tr h="499609">
                <a:tc>
                  <a:txBody>
                    <a:bodyPr/>
                    <a:lstStyle/>
                    <a:p>
                      <a:r>
                        <a:rPr lang="en-US" sz="1600" dirty="0"/>
                        <a:t>HCP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BLOQ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BLOQ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BLOQ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BLOQ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29501712"/>
                  </a:ext>
                </a:extLst>
              </a:tr>
              <a:tr h="621962">
                <a:tc>
                  <a:txBody>
                    <a:bodyPr/>
                    <a:lstStyle/>
                    <a:p>
                      <a:r>
                        <a:rPr lang="en-US" sz="1600" dirty="0"/>
                        <a:t>% Full / Partial / Empty by AUC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95 / 4 / 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94 / 4 / 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95 / 3 / 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96 / 2 / 2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93054685"/>
                  </a:ext>
                </a:extLst>
              </a:tr>
              <a:tr h="499609">
                <a:tc>
                  <a:txBody>
                    <a:bodyPr/>
                    <a:lstStyle/>
                    <a:p>
                      <a:r>
                        <a:rPr lang="en-US" sz="1600" dirty="0"/>
                        <a:t>Aggrega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99.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97.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90.7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dirty="0"/>
                        <a:t>96.56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63314949"/>
                  </a:ext>
                </a:extLst>
              </a:tr>
              <a:tr h="499609"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1600" dirty="0" err="1"/>
                        <a:t>rcAAV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dirty="0"/>
                        <a:t>BLOQ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600" u="none" strike="noStrike" noProof="0" dirty="0">
                          <a:solidFill>
                            <a:srgbClr val="000000"/>
                          </a:solidFill>
                        </a:rPr>
                        <a:t>BLOQ</a:t>
                      </a:r>
                      <a:endParaRPr 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 defTabSz="91437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US" sz="1600" u="none" strike="noStrike" noProof="0" dirty="0">
                          <a:solidFill>
                            <a:srgbClr val="000000"/>
                          </a:solidFill>
                        </a:rPr>
                        <a:t>BLOQ</a:t>
                      </a:r>
                      <a:endParaRPr 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 defTabSz="914377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US" sz="1600" u="none" strike="noStrike" noProof="0" dirty="0">
                          <a:solidFill>
                            <a:srgbClr val="000000"/>
                          </a:solidFill>
                        </a:rPr>
                        <a:t>BLOQ</a:t>
                      </a:r>
                      <a:endParaRPr lang="en-US" sz="16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77006065"/>
                  </a:ext>
                </a:extLst>
              </a:tr>
              <a:tr h="499609">
                <a:tc>
                  <a:txBody>
                    <a:bodyPr/>
                    <a:lstStyle/>
                    <a:p>
                      <a:r>
                        <a:rPr lang="en-US" sz="1600" dirty="0"/>
                        <a:t>Relative potency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N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Passe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ND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Passed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85728812"/>
                  </a:ext>
                </a:extLst>
              </a:tr>
            </a:tbl>
          </a:graphicData>
        </a:graphic>
      </p:graphicFrame>
      <p:pic>
        <p:nvPicPr>
          <p:cNvPr id="11" name="Picture 10">
            <a:extLst>
              <a:ext uri="{FF2B5EF4-FFF2-40B4-BE49-F238E27FC236}">
                <a16:creationId xmlns:a16="http://schemas.microsoft.com/office/drawing/2014/main" id="{B2F30AF8-3CCE-7BAA-AA65-D5BA87A2661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66451" y="5108044"/>
            <a:ext cx="683149" cy="113383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73B19DD-0452-9DB8-2F7B-14771D57684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134430" y="5468257"/>
            <a:ext cx="1679618" cy="835503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3FAA8D69-1C2A-CD11-9657-C6205CF8FA6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0" y="6325826"/>
            <a:ext cx="1634313" cy="210658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E6605ABD-B1CE-B2D0-0BE4-1EB32C249C6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926671" y="5108044"/>
            <a:ext cx="905496" cy="1133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94020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E8F31BA2-AFE6-92E3-CA1A-076E7EBD096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171441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3" imgH="503" progId="TCLayout.ActiveDocument.1">
                  <p:embed/>
                </p:oleObj>
              </mc:Choice>
              <mc:Fallback>
                <p:oleObj name="think-cell Slide" r:id="rId3" imgW="503" imgH="50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8F31BA2-AFE6-92E3-CA1A-076E7EBD09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C283243-E825-7494-A885-25C2B65B55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latin typeface="Arial"/>
                <a:cs typeface="Arial"/>
              </a:rPr>
              <a:t>Conclusions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E2CB28A-053C-3F19-E678-7314FAC8181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1376" y="1099061"/>
            <a:ext cx="11472672" cy="1774284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227965" indent="-227965"/>
            <a:r>
              <a:rPr lang="en-US" sz="1650" dirty="0">
                <a:latin typeface="Arial"/>
                <a:cs typeface="Arial"/>
              </a:rPr>
              <a:t>Developed a robust process for a novel capsid that achieves high yield and quality in support of Phase 1/2 clinical trials</a:t>
            </a:r>
            <a:endParaRPr lang="en-US" dirty="0"/>
          </a:p>
          <a:p>
            <a:pPr marL="227965" indent="-227965">
              <a:buClr>
                <a:srgbClr val="0FC8D0"/>
              </a:buClr>
            </a:pPr>
            <a:r>
              <a:rPr lang="en-US" sz="1650" dirty="0">
                <a:latin typeface="Arial"/>
                <a:cs typeface="Arial"/>
              </a:rPr>
              <a:t>Attain yields of &gt;4e15 vg/L at scale with the AFTX-201 process</a:t>
            </a:r>
            <a:endParaRPr lang="en-US" dirty="0"/>
          </a:p>
          <a:p>
            <a:pPr marL="227965" indent="-227965">
              <a:buClr>
                <a:srgbClr val="0FC8D0"/>
              </a:buClr>
            </a:pPr>
            <a:r>
              <a:rPr lang="en-US" sz="1650" dirty="0">
                <a:latin typeface="Arial"/>
                <a:cs typeface="Arial"/>
              </a:rPr>
              <a:t>Ensure excellent critical quality attributes (CQAs)</a:t>
            </a:r>
            <a:endParaRPr lang="en-US" dirty="0"/>
          </a:p>
          <a:p>
            <a:pPr marL="227965" indent="-227965">
              <a:buClr>
                <a:srgbClr val="0FC8D0"/>
              </a:buClr>
            </a:pPr>
            <a:r>
              <a:rPr lang="en-US" sz="1650" dirty="0">
                <a:latin typeface="Arial"/>
                <a:cs typeface="Arial"/>
              </a:rPr>
              <a:t>Reduce manufacturing costs</a:t>
            </a:r>
            <a:endParaRPr lang="en-US" dirty="0"/>
          </a:p>
          <a:p>
            <a:pPr marL="456565" lvl="1" indent="0">
              <a:buNone/>
            </a:pPr>
            <a:endParaRPr lang="en-US"/>
          </a:p>
          <a:p>
            <a:pPr marL="227965" indent="-227965">
              <a:buClr>
                <a:srgbClr val="0FC8D0"/>
              </a:buClr>
            </a:pPr>
            <a:endParaRPr lang="en-US"/>
          </a:p>
          <a:p>
            <a:pPr marL="227965" indent="-227965"/>
            <a:endParaRPr lang="en-US"/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3E96027A-C0C1-1608-6C69-CB94C618E7AD}"/>
              </a:ext>
            </a:extLst>
          </p:cNvPr>
          <p:cNvGrpSpPr/>
          <p:nvPr/>
        </p:nvGrpSpPr>
        <p:grpSpPr>
          <a:xfrm>
            <a:off x="464855" y="3429000"/>
            <a:ext cx="11225714" cy="2211163"/>
            <a:chOff x="588334" y="4008387"/>
            <a:chExt cx="11225714" cy="2211163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C928171F-6738-227A-249C-729C1147606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165982" y="4078856"/>
              <a:ext cx="776453" cy="1288696"/>
            </a:xfrm>
            <a:prstGeom prst="rect">
              <a:avLst/>
            </a:prstGeom>
          </p:spPr>
        </p:pic>
        <p:cxnSp>
          <p:nvCxnSpPr>
            <p:cNvPr id="7" name="Straight Arrow Connector 6">
              <a:extLst>
                <a:ext uri="{FF2B5EF4-FFF2-40B4-BE49-F238E27FC236}">
                  <a16:creationId xmlns:a16="http://schemas.microsoft.com/office/drawing/2014/main" id="{2FB0A439-32D9-DED3-8B67-5694A3CC2AC0}"/>
                </a:ext>
              </a:extLst>
            </p:cNvPr>
            <p:cNvCxnSpPr>
              <a:cxnSpLocks/>
            </p:cNvCxnSpPr>
            <p:nvPr/>
          </p:nvCxnSpPr>
          <p:spPr>
            <a:xfrm>
              <a:off x="2114105" y="4753858"/>
              <a:ext cx="1295402" cy="0"/>
            </a:xfrm>
            <a:prstGeom prst="straightConnector1">
              <a:avLst/>
            </a:prstGeom>
            <a:ln w="5715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1B326C26-980E-F951-68D6-6CECF9399D34}"/>
                </a:ext>
              </a:extLst>
            </p:cNvPr>
            <p:cNvSpPr/>
            <p:nvPr/>
          </p:nvSpPr>
          <p:spPr>
            <a:xfrm>
              <a:off x="588334" y="5455074"/>
              <a:ext cx="1922720" cy="76447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>
                  <a:solidFill>
                    <a:schemeClr val="tx1"/>
                  </a:solidFill>
                </a:rPr>
                <a:t>50L Bioreactor</a:t>
              </a:r>
            </a:p>
            <a:p>
              <a:pPr algn="ctr"/>
              <a:r>
                <a:rPr lang="en-US" sz="2000">
                  <a:solidFill>
                    <a:schemeClr val="tx1"/>
                  </a:solidFill>
                </a:rPr>
                <a:t>~2e17 total vg</a:t>
              </a: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37841620-1667-7C72-6666-35FA1033523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828200" y="4208454"/>
              <a:ext cx="618751" cy="1088629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61D1A65-8D9A-26D9-47A7-F6CC8BFBAFCB}"/>
                </a:ext>
              </a:extLst>
            </p:cNvPr>
            <p:cNvSpPr/>
            <p:nvPr/>
          </p:nvSpPr>
          <p:spPr>
            <a:xfrm>
              <a:off x="3116849" y="5451782"/>
              <a:ext cx="2041451" cy="76776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>
                  <a:solidFill>
                    <a:schemeClr val="tx1"/>
                  </a:solidFill>
                </a:rPr>
                <a:t>Drug Product</a:t>
              </a:r>
            </a:p>
            <a:p>
              <a:pPr algn="ctr"/>
              <a:r>
                <a:rPr lang="en-US" sz="2000">
                  <a:solidFill>
                    <a:schemeClr val="tx1"/>
                  </a:solidFill>
                </a:rPr>
                <a:t>~5e16 total vg 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B8E814EF-286A-1718-E0C9-AA2097B20720}"/>
                </a:ext>
              </a:extLst>
            </p:cNvPr>
            <p:cNvSpPr/>
            <p:nvPr/>
          </p:nvSpPr>
          <p:spPr>
            <a:xfrm>
              <a:off x="6191693" y="5451782"/>
              <a:ext cx="2108792" cy="76776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>
                  <a:solidFill>
                    <a:schemeClr val="tx1"/>
                  </a:solidFill>
                </a:rPr>
                <a:t>~60 doses</a:t>
              </a:r>
            </a:p>
            <a:p>
              <a:pPr algn="ctr"/>
              <a:r>
                <a:rPr lang="en-US" sz="1400">
                  <a:solidFill>
                    <a:schemeClr val="tx1"/>
                  </a:solidFill>
                </a:rPr>
                <a:t>8e14 total vg</a:t>
              </a:r>
            </a:p>
            <a:p>
              <a:pPr algn="ctr"/>
              <a:r>
                <a:rPr lang="en-US" sz="1400">
                  <a:solidFill>
                    <a:schemeClr val="tx1"/>
                  </a:solidFill>
                </a:rPr>
                <a:t>(80kg @1e13vg/kg)  </a:t>
              </a:r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4FF73592-E21D-AE51-1F68-B838FAC03D8A}"/>
                </a:ext>
              </a:extLst>
            </p:cNvPr>
            <p:cNvGrpSpPr/>
            <p:nvPr/>
          </p:nvGrpSpPr>
          <p:grpSpPr>
            <a:xfrm>
              <a:off x="6470327" y="4008387"/>
              <a:ext cx="1608502" cy="1288696"/>
              <a:chOff x="7284851" y="3781026"/>
              <a:chExt cx="2021623" cy="1678520"/>
            </a:xfrm>
          </p:grpSpPr>
          <p:grpSp>
            <p:nvGrpSpPr>
              <p:cNvPr id="26" name="Group 25">
                <a:extLst>
                  <a:ext uri="{FF2B5EF4-FFF2-40B4-BE49-F238E27FC236}">
                    <a16:creationId xmlns:a16="http://schemas.microsoft.com/office/drawing/2014/main" id="{25BDECC1-63AC-D291-57CF-35BA75CDA7CC}"/>
                  </a:ext>
                </a:extLst>
              </p:cNvPr>
              <p:cNvGrpSpPr/>
              <p:nvPr/>
            </p:nvGrpSpPr>
            <p:grpSpPr>
              <a:xfrm>
                <a:off x="7304302" y="3781026"/>
                <a:ext cx="2002172" cy="858944"/>
                <a:chOff x="7363320" y="4074049"/>
                <a:chExt cx="2002172" cy="858944"/>
              </a:xfrm>
            </p:grpSpPr>
            <p:pic>
              <p:nvPicPr>
                <p:cNvPr id="19" name="Picture 18">
                  <a:extLst>
                    <a:ext uri="{FF2B5EF4-FFF2-40B4-BE49-F238E27FC236}">
                      <a16:creationId xmlns:a16="http://schemas.microsoft.com/office/drawing/2014/main" id="{E1D49AFD-6106-0503-16FD-83E19C87CB9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7363320" y="4077203"/>
                  <a:ext cx="424910" cy="853631"/>
                </a:xfrm>
                <a:prstGeom prst="rect">
                  <a:avLst/>
                </a:prstGeom>
              </p:spPr>
            </p:pic>
            <p:pic>
              <p:nvPicPr>
                <p:cNvPr id="22" name="Picture 21">
                  <a:extLst>
                    <a:ext uri="{FF2B5EF4-FFF2-40B4-BE49-F238E27FC236}">
                      <a16:creationId xmlns:a16="http://schemas.microsoft.com/office/drawing/2014/main" id="{5BFE52A0-93AE-B675-BB26-927FFC8D812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7745702" y="4077203"/>
                  <a:ext cx="424910" cy="853631"/>
                </a:xfrm>
                <a:prstGeom prst="rect">
                  <a:avLst/>
                </a:prstGeom>
              </p:spPr>
            </p:pic>
            <p:pic>
              <p:nvPicPr>
                <p:cNvPr id="23" name="Picture 22">
                  <a:extLst>
                    <a:ext uri="{FF2B5EF4-FFF2-40B4-BE49-F238E27FC236}">
                      <a16:creationId xmlns:a16="http://schemas.microsoft.com/office/drawing/2014/main" id="{FC203E96-EED4-3F61-FD08-5F8370F0339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8149348" y="4074049"/>
                  <a:ext cx="424910" cy="853631"/>
                </a:xfrm>
                <a:prstGeom prst="rect">
                  <a:avLst/>
                </a:prstGeom>
              </p:spPr>
            </p:pic>
            <p:pic>
              <p:nvPicPr>
                <p:cNvPr id="24" name="Picture 23">
                  <a:extLst>
                    <a:ext uri="{FF2B5EF4-FFF2-40B4-BE49-F238E27FC236}">
                      <a16:creationId xmlns:a16="http://schemas.microsoft.com/office/drawing/2014/main" id="{FC525D22-4A40-A511-C12E-C4EEC8BA7C8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8553694" y="4074049"/>
                  <a:ext cx="424910" cy="853631"/>
                </a:xfrm>
                <a:prstGeom prst="rect">
                  <a:avLst/>
                </a:prstGeom>
              </p:spPr>
            </p:pic>
            <p:pic>
              <p:nvPicPr>
                <p:cNvPr id="25" name="Picture 24">
                  <a:extLst>
                    <a:ext uri="{FF2B5EF4-FFF2-40B4-BE49-F238E27FC236}">
                      <a16:creationId xmlns:a16="http://schemas.microsoft.com/office/drawing/2014/main" id="{35F1C0FD-EC49-F3D0-EB3E-2CEF5DA34AE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8940582" y="4079362"/>
                  <a:ext cx="424910" cy="853631"/>
                </a:xfrm>
                <a:prstGeom prst="rect">
                  <a:avLst/>
                </a:prstGeom>
              </p:spPr>
            </p:pic>
          </p:grpSp>
          <p:grpSp>
            <p:nvGrpSpPr>
              <p:cNvPr id="27" name="Group 26">
                <a:extLst>
                  <a:ext uri="{FF2B5EF4-FFF2-40B4-BE49-F238E27FC236}">
                    <a16:creationId xmlns:a16="http://schemas.microsoft.com/office/drawing/2014/main" id="{522F8EAC-9E2F-7CCB-0E15-9BF4A8799839}"/>
                  </a:ext>
                </a:extLst>
              </p:cNvPr>
              <p:cNvGrpSpPr/>
              <p:nvPr/>
            </p:nvGrpSpPr>
            <p:grpSpPr>
              <a:xfrm>
                <a:off x="7284851" y="4600602"/>
                <a:ext cx="2002172" cy="858944"/>
                <a:chOff x="7363320" y="4074049"/>
                <a:chExt cx="2002172" cy="858944"/>
              </a:xfrm>
            </p:grpSpPr>
            <p:pic>
              <p:nvPicPr>
                <p:cNvPr id="28" name="Picture 27">
                  <a:extLst>
                    <a:ext uri="{FF2B5EF4-FFF2-40B4-BE49-F238E27FC236}">
                      <a16:creationId xmlns:a16="http://schemas.microsoft.com/office/drawing/2014/main" id="{8389A0AA-BB5B-696C-D351-4E74EC9944B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7363320" y="4077203"/>
                  <a:ext cx="424910" cy="853631"/>
                </a:xfrm>
                <a:prstGeom prst="rect">
                  <a:avLst/>
                </a:prstGeom>
              </p:spPr>
            </p:pic>
            <p:pic>
              <p:nvPicPr>
                <p:cNvPr id="29" name="Picture 28">
                  <a:extLst>
                    <a:ext uri="{FF2B5EF4-FFF2-40B4-BE49-F238E27FC236}">
                      <a16:creationId xmlns:a16="http://schemas.microsoft.com/office/drawing/2014/main" id="{A3B97C2C-AA34-6349-6BE3-77BBE2112AF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7745702" y="4077203"/>
                  <a:ext cx="424910" cy="853631"/>
                </a:xfrm>
                <a:prstGeom prst="rect">
                  <a:avLst/>
                </a:prstGeom>
              </p:spPr>
            </p:pic>
            <p:pic>
              <p:nvPicPr>
                <p:cNvPr id="30" name="Picture 29">
                  <a:extLst>
                    <a:ext uri="{FF2B5EF4-FFF2-40B4-BE49-F238E27FC236}">
                      <a16:creationId xmlns:a16="http://schemas.microsoft.com/office/drawing/2014/main" id="{91736075-D4EA-8488-A5DA-75AD6234676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8149348" y="4074049"/>
                  <a:ext cx="424910" cy="853631"/>
                </a:xfrm>
                <a:prstGeom prst="rect">
                  <a:avLst/>
                </a:prstGeom>
              </p:spPr>
            </p:pic>
            <p:pic>
              <p:nvPicPr>
                <p:cNvPr id="31" name="Picture 30">
                  <a:extLst>
                    <a:ext uri="{FF2B5EF4-FFF2-40B4-BE49-F238E27FC236}">
                      <a16:creationId xmlns:a16="http://schemas.microsoft.com/office/drawing/2014/main" id="{B07CFF1E-CB72-7AB3-7471-08571960F12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8553694" y="4074049"/>
                  <a:ext cx="424910" cy="853631"/>
                </a:xfrm>
                <a:prstGeom prst="rect">
                  <a:avLst/>
                </a:prstGeom>
              </p:spPr>
            </p:pic>
            <p:pic>
              <p:nvPicPr>
                <p:cNvPr id="32" name="Picture 31">
                  <a:extLst>
                    <a:ext uri="{FF2B5EF4-FFF2-40B4-BE49-F238E27FC236}">
                      <a16:creationId xmlns:a16="http://schemas.microsoft.com/office/drawing/2014/main" id="{552B3224-BE89-44DA-F29C-1D06B564DD5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8940582" y="4079362"/>
                  <a:ext cx="424910" cy="853631"/>
                </a:xfrm>
                <a:prstGeom prst="rect">
                  <a:avLst/>
                </a:prstGeom>
              </p:spPr>
            </p:pic>
          </p:grp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2551C109-D2EE-EB21-98D5-6D8C0EDB9DC9}"/>
                </a:ext>
              </a:extLst>
            </p:cNvPr>
            <p:cNvSpPr/>
            <p:nvPr/>
          </p:nvSpPr>
          <p:spPr>
            <a:xfrm>
              <a:off x="9705256" y="5451782"/>
              <a:ext cx="2108792" cy="76776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>
                  <a:solidFill>
                    <a:schemeClr val="tx1"/>
                  </a:solidFill>
                </a:rPr>
                <a:t>~30K/dose</a:t>
              </a:r>
              <a:endParaRPr lang="en-US" sz="1400">
                <a:solidFill>
                  <a:schemeClr val="tx1"/>
                </a:solidFill>
              </a:endParaRPr>
            </a:p>
          </p:txBody>
        </p:sp>
        <p:cxnSp>
          <p:nvCxnSpPr>
            <p:cNvPr id="38" name="Straight Arrow Connector 37">
              <a:extLst>
                <a:ext uri="{FF2B5EF4-FFF2-40B4-BE49-F238E27FC236}">
                  <a16:creationId xmlns:a16="http://schemas.microsoft.com/office/drawing/2014/main" id="{3EF73F00-35CD-8397-E449-0B4CBB4DEDB5}"/>
                </a:ext>
              </a:extLst>
            </p:cNvPr>
            <p:cNvCxnSpPr>
              <a:cxnSpLocks/>
            </p:cNvCxnSpPr>
            <p:nvPr/>
          </p:nvCxnSpPr>
          <p:spPr>
            <a:xfrm>
              <a:off x="4896291" y="4752768"/>
              <a:ext cx="1295402" cy="0"/>
            </a:xfrm>
            <a:prstGeom prst="straightConnector1">
              <a:avLst/>
            </a:prstGeom>
            <a:ln w="5715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Straight Arrow Connector 38">
              <a:extLst>
                <a:ext uri="{FF2B5EF4-FFF2-40B4-BE49-F238E27FC236}">
                  <a16:creationId xmlns:a16="http://schemas.microsoft.com/office/drawing/2014/main" id="{74EE1E6A-F6FE-9279-8CDE-898EC7022C87}"/>
                </a:ext>
              </a:extLst>
            </p:cNvPr>
            <p:cNvCxnSpPr>
              <a:cxnSpLocks/>
            </p:cNvCxnSpPr>
            <p:nvPr/>
          </p:nvCxnSpPr>
          <p:spPr>
            <a:xfrm>
              <a:off x="8204792" y="4723204"/>
              <a:ext cx="1295402" cy="0"/>
            </a:xfrm>
            <a:prstGeom prst="straightConnector1">
              <a:avLst/>
            </a:prstGeom>
            <a:ln w="5715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57D7DC96-D3E6-A4AF-E7A7-5011234264D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0086729" y="4406675"/>
              <a:ext cx="1244664" cy="692186"/>
            </a:xfrm>
            <a:prstGeom prst="rect">
              <a:avLst/>
            </a:prstGeom>
          </p:spPr>
        </p:pic>
      </p:grpSp>
      <p:pic>
        <p:nvPicPr>
          <p:cNvPr id="43" name="Picture 42">
            <a:extLst>
              <a:ext uri="{FF2B5EF4-FFF2-40B4-BE49-F238E27FC236}">
                <a16:creationId xmlns:a16="http://schemas.microsoft.com/office/drawing/2014/main" id="{F9ED8E03-7CEF-8C8E-7248-B29BDEAA20E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118968" y="18623"/>
            <a:ext cx="1036113" cy="1072048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5D6F8C10-6DE3-450E-CF8C-9AFCF0C2A11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0" y="6325826"/>
            <a:ext cx="1634313" cy="210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722540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think-cell data - do not delete" hidden="1">
            <a:extLst>
              <a:ext uri="{FF2B5EF4-FFF2-40B4-BE49-F238E27FC236}">
                <a16:creationId xmlns:a16="http://schemas.microsoft.com/office/drawing/2014/main" id="{33002AFE-C49D-8A89-29BD-8F62A0FE12A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456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03" imgH="503" progId="TCLayout.ActiveDocument.1">
                  <p:embed/>
                </p:oleObj>
              </mc:Choice>
              <mc:Fallback>
                <p:oleObj name="think-cell Slide" r:id="rId3" imgW="503" imgH="503" progId="TCLayout.ActiveDocument.1">
                  <p:embed/>
                  <p:pic>
                    <p:nvPicPr>
                      <p:cNvPr id="1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3002AFE-C49D-8A89-29BD-8F62A0FE12A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B4E22B5-86D7-8D21-1289-7F78FEBABC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Acknowledgme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CF5A02-EA9D-23FF-48C1-71A58933B1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4424" y="2262203"/>
            <a:ext cx="3466115" cy="3839193"/>
          </a:xfrm>
          <a:ln>
            <a:solidFill>
              <a:srgbClr val="92D050"/>
            </a:solidFill>
          </a:ln>
        </p:spPr>
        <p:txBody>
          <a:bodyPr vert="horz" lIns="91440" tIns="45720" rIns="91440" bIns="45720" rtlCol="0" anchor="t">
            <a:noAutofit/>
          </a:bodyPr>
          <a:lstStyle/>
          <a:p>
            <a:pPr marL="227965" indent="-227965"/>
            <a:r>
              <a:rPr lang="en-US" sz="1650" b="1" dirty="0">
                <a:latin typeface="Arial"/>
                <a:cs typeface="Arial"/>
              </a:rPr>
              <a:t>Process Science Team</a:t>
            </a:r>
            <a:endParaRPr lang="en-US" sz="1650" dirty="0">
              <a:latin typeface="Arial"/>
              <a:cs typeface="Arial"/>
            </a:endParaRPr>
          </a:p>
          <a:p>
            <a:pPr marL="685165" lvl="1" indent="-227965"/>
            <a:r>
              <a:rPr lang="en-US" sz="1700" dirty="0">
                <a:latin typeface="Arial"/>
                <a:cs typeface="Arial"/>
              </a:rPr>
              <a:t>Esther </a:t>
            </a:r>
            <a:r>
              <a:rPr lang="en-US" sz="1700" err="1">
                <a:latin typeface="Arial"/>
                <a:cs typeface="Arial"/>
              </a:rPr>
              <a:t>Aribilola</a:t>
            </a:r>
            <a:endParaRPr lang="en-US" sz="1650" err="1">
              <a:latin typeface="Arial"/>
              <a:cs typeface="Arial"/>
            </a:endParaRPr>
          </a:p>
          <a:p>
            <a:pPr marL="685165" lvl="1" indent="-227965"/>
            <a:r>
              <a:rPr lang="en-US" sz="1700" dirty="0">
                <a:latin typeface="Arial"/>
                <a:cs typeface="Arial"/>
              </a:rPr>
              <a:t>Matt Bennett</a:t>
            </a:r>
          </a:p>
          <a:p>
            <a:pPr marL="685165" lvl="1" indent="-227965"/>
            <a:r>
              <a:rPr lang="en-US" sz="1700" dirty="0">
                <a:latin typeface="Arial"/>
                <a:cs typeface="Arial"/>
              </a:rPr>
              <a:t>Patrick Bresnahan</a:t>
            </a:r>
            <a:endParaRPr lang="en-US" sz="1700">
              <a:solidFill>
                <a:srgbClr val="000000"/>
              </a:solidFill>
              <a:latin typeface="Arial"/>
              <a:cs typeface="Arial"/>
            </a:endParaRPr>
          </a:p>
          <a:p>
            <a:pPr marL="685165" lvl="1" indent="-227965"/>
            <a:r>
              <a:rPr lang="en-US" sz="1700" dirty="0">
                <a:latin typeface="Arial"/>
                <a:cs typeface="Arial"/>
              </a:rPr>
              <a:t>Rong Cong</a:t>
            </a:r>
          </a:p>
          <a:p>
            <a:pPr marL="685165" lvl="1" indent="-227965"/>
            <a:r>
              <a:rPr lang="en-US" sz="1650" dirty="0">
                <a:latin typeface="Arial"/>
                <a:cs typeface="Arial"/>
              </a:rPr>
              <a:t>Paul Freeman</a:t>
            </a:r>
          </a:p>
          <a:p>
            <a:pPr marL="685165" lvl="1" indent="-227965"/>
            <a:r>
              <a:rPr lang="en-US"/>
              <a:t>Ramin Kamran Sami</a:t>
            </a:r>
          </a:p>
          <a:p>
            <a:pPr marL="685165" lvl="1" indent="-227965"/>
            <a:r>
              <a:rPr lang="en-US" sz="1700" dirty="0">
                <a:latin typeface="Arial"/>
                <a:cs typeface="Arial"/>
              </a:rPr>
              <a:t>Mike White</a:t>
            </a:r>
            <a:endParaRPr lang="en-US" sz="17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227965" indent="-227965"/>
            <a:r>
              <a:rPr lang="en-US" sz="1650" dirty="0">
                <a:latin typeface="Arial"/>
                <a:cs typeface="Arial"/>
              </a:rPr>
              <a:t>Rob May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6DC56175-3E0D-A290-C11E-4E3D8EA61496}"/>
              </a:ext>
            </a:extLst>
          </p:cNvPr>
          <p:cNvSpPr txBox="1">
            <a:spLocks/>
          </p:cNvSpPr>
          <p:nvPr/>
        </p:nvSpPr>
        <p:spPr>
          <a:xfrm>
            <a:off x="4347702" y="2262203"/>
            <a:ext cx="3466115" cy="3839193"/>
          </a:xfrm>
          <a:prstGeom prst="rect">
            <a:avLst/>
          </a:prstGeom>
          <a:ln>
            <a:solidFill>
              <a:schemeClr val="accent2"/>
            </a:solidFill>
          </a:ln>
        </p:spPr>
        <p:txBody>
          <a:bodyPr vert="horz" lIns="91440" tIns="45720" rIns="91440" bIns="45720" rtlCol="0" anchor="t">
            <a:noAutofit/>
          </a:bodyPr>
          <a:lstStyle>
            <a:lvl1pPr marL="228594" indent="-228594" algn="l" defTabSz="914377" rtl="0" eaLnBrk="1" latinLnBrk="0" hangingPunct="1">
              <a:lnSpc>
                <a:spcPts val="2133"/>
              </a:lnSpc>
              <a:spcBef>
                <a:spcPts val="1000"/>
              </a:spcBef>
              <a:buClr>
                <a:schemeClr val="accent2"/>
              </a:buClr>
              <a:buFont typeface="Wingdings" pitchFamily="2" charset="2"/>
              <a:buChar char="§"/>
              <a:defRPr sz="1667" kern="1200">
                <a:solidFill>
                  <a:srgbClr val="2D39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2D3943"/>
              </a:buClr>
              <a:buFont typeface="System Font Regular"/>
              <a:buChar char="–"/>
              <a:defRPr sz="1667" kern="1200">
                <a:solidFill>
                  <a:srgbClr val="2D39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67" kern="1200">
                <a:solidFill>
                  <a:srgbClr val="2D39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rgbClr val="2D39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33" kern="1200">
                <a:solidFill>
                  <a:srgbClr val="2D39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7965" indent="-227965"/>
            <a:r>
              <a:rPr lang="en-US" sz="1650" b="1" dirty="0">
                <a:latin typeface="Arial"/>
                <a:cs typeface="Arial"/>
              </a:rPr>
              <a:t>Analytical Science Team</a:t>
            </a:r>
            <a:endParaRPr lang="en-US" sz="1650" dirty="0">
              <a:latin typeface="Arial"/>
              <a:cs typeface="Arial"/>
            </a:endParaRPr>
          </a:p>
          <a:p>
            <a:pPr marL="685165" lvl="1" indent="-227965"/>
            <a:r>
              <a:rPr lang="en-US" sz="1700" dirty="0">
                <a:latin typeface="Arial"/>
                <a:cs typeface="Arial"/>
              </a:rPr>
              <a:t>Hannah </a:t>
            </a:r>
            <a:r>
              <a:rPr lang="en-US" sz="1700" dirty="0" err="1">
                <a:latin typeface="Arial"/>
                <a:cs typeface="Arial"/>
              </a:rPr>
              <a:t>Czeladko</a:t>
            </a:r>
            <a:endParaRPr lang="en-US" sz="1650" dirty="0" err="1">
              <a:latin typeface="Arial"/>
              <a:cs typeface="Arial"/>
            </a:endParaRPr>
          </a:p>
          <a:p>
            <a:pPr marL="685165" lvl="1" indent="-227965"/>
            <a:r>
              <a:rPr lang="en-US" sz="1700" dirty="0">
                <a:latin typeface="Arial"/>
                <a:cs typeface="Arial"/>
              </a:rPr>
              <a:t>Spencer Fielder</a:t>
            </a:r>
            <a:endParaRPr lang="en-US" sz="1650" dirty="0">
              <a:latin typeface="Arial"/>
              <a:cs typeface="Arial"/>
            </a:endParaRPr>
          </a:p>
          <a:p>
            <a:pPr marL="685165" lvl="1" indent="-227965"/>
            <a:r>
              <a:rPr lang="en-US" sz="1650" dirty="0">
                <a:latin typeface="Arial"/>
                <a:cs typeface="Arial"/>
              </a:rPr>
              <a:t>Graham Lilley</a:t>
            </a:r>
            <a:endParaRPr lang="en-US" dirty="0"/>
          </a:p>
          <a:p>
            <a:pPr marL="685165" lvl="1" indent="-227965"/>
            <a:r>
              <a:rPr lang="en-US" sz="1650" dirty="0">
                <a:latin typeface="Arial"/>
                <a:cs typeface="Arial"/>
              </a:rPr>
              <a:t>Shahrzad Parker</a:t>
            </a:r>
          </a:p>
          <a:p>
            <a:pPr marL="685165" lvl="1" indent="-227965"/>
            <a:r>
              <a:rPr lang="en-US" sz="1700" dirty="0">
                <a:latin typeface="Arial"/>
                <a:cs typeface="Arial"/>
              </a:rPr>
              <a:t>Lauren Sargent</a:t>
            </a:r>
            <a:endParaRPr lang="en-US" sz="1650" dirty="0">
              <a:latin typeface="Arial"/>
              <a:cs typeface="Arial"/>
            </a:endParaRPr>
          </a:p>
          <a:p>
            <a:pPr marL="685165" lvl="1" indent="-227965"/>
            <a:r>
              <a:rPr lang="en-US" sz="1650" dirty="0">
                <a:latin typeface="Arial"/>
                <a:cs typeface="Arial"/>
              </a:rPr>
              <a:t>Jordan </a:t>
            </a:r>
            <a:r>
              <a:rPr lang="en-US" sz="1650" dirty="0" err="1">
                <a:latin typeface="Arial"/>
                <a:cs typeface="Arial"/>
              </a:rPr>
              <a:t>Shufro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99A4423E-3D47-62E8-9EA1-EBAB007B2298}"/>
              </a:ext>
            </a:extLst>
          </p:cNvPr>
          <p:cNvSpPr txBox="1">
            <a:spLocks/>
          </p:cNvSpPr>
          <p:nvPr/>
        </p:nvSpPr>
        <p:spPr>
          <a:xfrm>
            <a:off x="8350981" y="2262204"/>
            <a:ext cx="3466115" cy="3839192"/>
          </a:xfrm>
          <a:prstGeom prst="rect">
            <a:avLst/>
          </a:prstGeom>
          <a:ln>
            <a:solidFill>
              <a:srgbClr val="FFC000"/>
            </a:solidFill>
          </a:ln>
        </p:spPr>
        <p:txBody>
          <a:bodyPr vert="horz" lIns="91440" tIns="45720" rIns="91440" bIns="45720" rtlCol="0">
            <a:noAutofit/>
          </a:bodyPr>
          <a:lstStyle>
            <a:lvl1pPr marL="228594" indent="-228594" algn="l" defTabSz="914377" rtl="0" eaLnBrk="1" latinLnBrk="0" hangingPunct="1">
              <a:lnSpc>
                <a:spcPts val="2133"/>
              </a:lnSpc>
              <a:spcBef>
                <a:spcPts val="1000"/>
              </a:spcBef>
              <a:buClr>
                <a:schemeClr val="accent2"/>
              </a:buClr>
              <a:buFont typeface="Wingdings" pitchFamily="2" charset="2"/>
              <a:buChar char="§"/>
              <a:defRPr sz="1667" kern="1200">
                <a:solidFill>
                  <a:srgbClr val="2D39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2D3943"/>
              </a:buClr>
              <a:buFont typeface="System Font Regular"/>
              <a:buChar char="–"/>
              <a:defRPr sz="1667" kern="1200">
                <a:solidFill>
                  <a:srgbClr val="2D39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67" kern="1200">
                <a:solidFill>
                  <a:srgbClr val="2D39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rgbClr val="2D39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33" kern="1200">
                <a:solidFill>
                  <a:srgbClr val="2D39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/>
              <a:t>Upstream Team</a:t>
            </a:r>
          </a:p>
          <a:p>
            <a:pPr lvl="1"/>
            <a:r>
              <a:rPr lang="en-US"/>
              <a:t>Danielle Sexton</a:t>
            </a:r>
          </a:p>
          <a:p>
            <a:pPr lvl="1"/>
            <a:r>
              <a:rPr lang="en-US"/>
              <a:t>Aimee Doiron</a:t>
            </a:r>
          </a:p>
          <a:p>
            <a:pPr lvl="1"/>
            <a:r>
              <a:rPr lang="en-US"/>
              <a:t>Caitlin Austin</a:t>
            </a:r>
          </a:p>
          <a:p>
            <a:r>
              <a:rPr lang="en-US" b="1"/>
              <a:t>Downstream Team</a:t>
            </a:r>
          </a:p>
          <a:p>
            <a:pPr lvl="1"/>
            <a:r>
              <a:rPr lang="en-US"/>
              <a:t>Corben Davis</a:t>
            </a:r>
          </a:p>
          <a:p>
            <a:pPr lvl="1"/>
            <a:r>
              <a:rPr lang="en-US"/>
              <a:t>Nicole Hoefer</a:t>
            </a:r>
          </a:p>
          <a:p>
            <a:pPr lvl="1"/>
            <a:r>
              <a:rPr lang="en-US" err="1"/>
              <a:t>Mreedul</a:t>
            </a:r>
            <a:r>
              <a:rPr lang="en-US"/>
              <a:t> Koirala</a:t>
            </a:r>
          </a:p>
          <a:p>
            <a:pPr lvl="1"/>
            <a:r>
              <a:rPr lang="en-US"/>
              <a:t>Benjamini Stillions</a:t>
            </a:r>
          </a:p>
          <a:p>
            <a:r>
              <a:rPr lang="en-US" b="1"/>
              <a:t>Potency Assay Team</a:t>
            </a:r>
          </a:p>
          <a:p>
            <a:pPr lvl="1"/>
            <a:r>
              <a:rPr lang="en-US"/>
              <a:t>Devon Blake</a:t>
            </a:r>
          </a:p>
          <a:p>
            <a:pPr lvl="1"/>
            <a:r>
              <a:rPr lang="en-US"/>
              <a:t>Julie Selich-Anderso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D3FE546-8339-E560-BB65-187D50A3EBD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133722" y="1357503"/>
            <a:ext cx="1679618" cy="835503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584D657-8BC5-B07F-A7E3-DA62185C698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88366" y="1374463"/>
            <a:ext cx="1969914" cy="65663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9E0DC98-F319-6609-D668-FEB7466DA8A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76404" y="1361964"/>
            <a:ext cx="1969914" cy="6566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558355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C43DE53A-543F-A756-A383-3DAFE8D5249B}"/>
              </a:ext>
            </a:extLst>
          </p:cNvPr>
          <p:cNvSpPr/>
          <p:nvPr/>
        </p:nvSpPr>
        <p:spPr>
          <a:xfrm>
            <a:off x="6516654" y="1159026"/>
            <a:ext cx="5354291" cy="620638"/>
          </a:xfrm>
          <a:prstGeom prst="rect">
            <a:avLst/>
          </a:prstGeom>
          <a:solidFill>
            <a:srgbClr val="D3EBED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2E973DA-4518-3530-0DEB-429C624F954E}"/>
              </a:ext>
            </a:extLst>
          </p:cNvPr>
          <p:cNvSpPr/>
          <p:nvPr/>
        </p:nvSpPr>
        <p:spPr>
          <a:xfrm>
            <a:off x="6512727" y="1815455"/>
            <a:ext cx="5354291" cy="620638"/>
          </a:xfrm>
          <a:prstGeom prst="rect">
            <a:avLst/>
          </a:prstGeom>
          <a:solidFill>
            <a:srgbClr val="D3EBED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23A4748-38C2-9941-739F-30393DB989DD}"/>
              </a:ext>
            </a:extLst>
          </p:cNvPr>
          <p:cNvSpPr/>
          <p:nvPr/>
        </p:nvSpPr>
        <p:spPr>
          <a:xfrm>
            <a:off x="6512727" y="2466626"/>
            <a:ext cx="5354291" cy="620638"/>
          </a:xfrm>
          <a:prstGeom prst="rect">
            <a:avLst/>
          </a:prstGeom>
          <a:solidFill>
            <a:srgbClr val="D3EBED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C2456C7F-8F02-0358-2018-EC3CB48F272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2456C7F-8F02-0358-2018-EC3CB48F27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3BB21EF3-FDAF-BD2E-1F1F-DA40743444B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1375" y="256757"/>
            <a:ext cx="5585293" cy="1435622"/>
          </a:xfrm>
        </p:spPr>
        <p:txBody>
          <a:bodyPr vert="horz">
            <a:noAutofit/>
          </a:bodyPr>
          <a:lstStyle/>
          <a:p>
            <a:r>
              <a:rPr lang="en-US" sz="2800">
                <a:solidFill>
                  <a:schemeClr val="bg1"/>
                </a:solidFill>
              </a:rPr>
              <a:t>BAG3 DCM is a devastating disease</a:t>
            </a:r>
          </a:p>
        </p:txBody>
      </p:sp>
      <p:graphicFrame>
        <p:nvGraphicFramePr>
          <p:cNvPr id="28" name="Chart 27">
            <a:extLst>
              <a:ext uri="{FF2B5EF4-FFF2-40B4-BE49-F238E27FC236}">
                <a16:creationId xmlns:a16="http://schemas.microsoft.com/office/drawing/2014/main" id="{750EF3E7-15C5-4069-BA6D-6AAB7CFE8A39}"/>
              </a:ext>
            </a:extLst>
          </p:cNvPr>
          <p:cNvGraphicFramePr>
            <a:graphicFrameLocks noChangeAspect="1"/>
          </p:cNvGraphicFramePr>
          <p:nvPr/>
        </p:nvGraphicFramePr>
        <p:xfrm>
          <a:off x="7008283" y="3636177"/>
          <a:ext cx="4145280" cy="27635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6360A2C2-5562-CD0F-D4A6-2865054D6873}"/>
              </a:ext>
            </a:extLst>
          </p:cNvPr>
          <p:cNvSpPr/>
          <p:nvPr/>
        </p:nvSpPr>
        <p:spPr>
          <a:xfrm>
            <a:off x="7509510" y="3321093"/>
            <a:ext cx="3142827" cy="48176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>
                <a:solidFill>
                  <a:schemeClr val="tx1"/>
                </a:solidFill>
              </a:rPr>
              <a:t>No. of patients with BAG3 DCM in developed markets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11EA357-F63C-498D-61E9-9420311694AF}"/>
              </a:ext>
            </a:extLst>
          </p:cNvPr>
          <p:cNvSpPr/>
          <p:nvPr/>
        </p:nvSpPr>
        <p:spPr>
          <a:xfrm>
            <a:off x="-1" y="6310744"/>
            <a:ext cx="4210494" cy="43689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28600" indent="-228600">
              <a:buAutoNum type="arabicParenR"/>
            </a:pPr>
            <a:r>
              <a:rPr lang="en-US" sz="800">
                <a:solidFill>
                  <a:schemeClr val="bg1"/>
                </a:solidFill>
              </a:rPr>
              <a:t>DeGroot, S. (2024, August 16). Facebook; accessed October 2, 2024.</a:t>
            </a:r>
          </a:p>
          <a:p>
            <a:pPr marL="228600" indent="-228600">
              <a:buAutoNum type="arabicParenR"/>
            </a:pPr>
            <a:r>
              <a:rPr lang="en-US" sz="800">
                <a:solidFill>
                  <a:schemeClr val="bg1"/>
                </a:solidFill>
              </a:rPr>
              <a:t>Sentero Pharma market research &amp; forecas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1C5F2DD-914E-016D-E86D-3FC369253CB2}"/>
              </a:ext>
            </a:extLst>
          </p:cNvPr>
          <p:cNvSpPr txBox="1"/>
          <p:nvPr/>
        </p:nvSpPr>
        <p:spPr>
          <a:xfrm>
            <a:off x="1075913" y="4835061"/>
            <a:ext cx="4888231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200" b="1">
                <a:solidFill>
                  <a:schemeClr val="bg1"/>
                </a:solidFill>
              </a:rPr>
              <a:t>Disease biology and unmet medical ne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bg1"/>
                </a:solidFill>
              </a:rPr>
              <a:t>Monogenic disease with haploinsufficienc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bg1"/>
                </a:solidFill>
              </a:rPr>
              <a:t>Diagnosed at a mean age of 37 yea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bg1"/>
                </a:solidFill>
              </a:rPr>
              <a:t>64% are in NYHA Class II – IV at present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bg1"/>
                </a:solidFill>
              </a:rPr>
              <a:t>Current treatments for symptomatic improv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>
                <a:solidFill>
                  <a:schemeClr val="bg1"/>
                </a:solidFill>
              </a:rPr>
              <a:t>22% with DCM require a heart transplant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12E2DC9-A8F7-1C96-F274-9584EC817E47}"/>
              </a:ext>
            </a:extLst>
          </p:cNvPr>
          <p:cNvGrpSpPr/>
          <p:nvPr/>
        </p:nvGrpSpPr>
        <p:grpSpPr>
          <a:xfrm>
            <a:off x="1205007" y="1282750"/>
            <a:ext cx="3371403" cy="3156899"/>
            <a:chOff x="1100389" y="1761917"/>
            <a:chExt cx="3128256" cy="2929222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0A6A17D1-EBEC-87F9-4E56-BABD69769969}"/>
                </a:ext>
              </a:extLst>
            </p:cNvPr>
            <p:cNvSpPr/>
            <p:nvPr/>
          </p:nvSpPr>
          <p:spPr>
            <a:xfrm rot="21232210">
              <a:off x="1100389" y="1889167"/>
              <a:ext cx="2802721" cy="2639961"/>
            </a:xfrm>
            <a:prstGeom prst="rect">
              <a:avLst/>
            </a:prstGeom>
            <a:solidFill>
              <a:schemeClr val="bg1">
                <a:alpha val="34224"/>
              </a:schemeClr>
            </a:solidFill>
            <a:ln>
              <a:noFill/>
            </a:ln>
            <a:effectLst>
              <a:outerShdw blurRad="197653" dist="38100" dir="8100000" algn="tr" rotWithShape="0">
                <a:prstClr val="black">
                  <a:alpha val="52683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6CA5A8D1-35BA-23FD-3DAC-55623F9CCF83}"/>
                </a:ext>
              </a:extLst>
            </p:cNvPr>
            <p:cNvGrpSpPr/>
            <p:nvPr/>
          </p:nvGrpSpPr>
          <p:grpSpPr>
            <a:xfrm>
              <a:off x="1235182" y="1761917"/>
              <a:ext cx="2993463" cy="2929222"/>
              <a:chOff x="1437248" y="1944437"/>
              <a:chExt cx="2636023" cy="2579452"/>
            </a:xfrm>
          </p:grpSpPr>
          <p:sp>
            <p:nvSpPr>
              <p:cNvPr id="6" name="Rectangle 5">
                <a:extLst>
                  <a:ext uri="{FF2B5EF4-FFF2-40B4-BE49-F238E27FC236}">
                    <a16:creationId xmlns:a16="http://schemas.microsoft.com/office/drawing/2014/main" id="{080C5D50-5814-C7B3-D1AD-B0B89B142094}"/>
                  </a:ext>
                </a:extLst>
              </p:cNvPr>
              <p:cNvSpPr/>
              <p:nvPr/>
            </p:nvSpPr>
            <p:spPr>
              <a:xfrm rot="21387857">
                <a:off x="1437248" y="2008801"/>
                <a:ext cx="2582448" cy="2432478"/>
              </a:xfrm>
              <a:prstGeom prst="rect">
                <a:avLst/>
              </a:prstGeom>
              <a:solidFill>
                <a:schemeClr val="bg1">
                  <a:alpha val="34224"/>
                </a:schemeClr>
              </a:solidFill>
              <a:ln>
                <a:noFill/>
              </a:ln>
              <a:effectLst>
                <a:outerShdw blurRad="197653" dist="38100" dir="8100000" algn="tr" rotWithShape="0">
                  <a:prstClr val="black">
                    <a:alpha val="52683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7" name="Rectangle 6">
                <a:extLst>
                  <a:ext uri="{FF2B5EF4-FFF2-40B4-BE49-F238E27FC236}">
                    <a16:creationId xmlns:a16="http://schemas.microsoft.com/office/drawing/2014/main" id="{870E9018-6D61-50EF-B333-30FC355CD904}"/>
                  </a:ext>
                </a:extLst>
              </p:cNvPr>
              <p:cNvSpPr/>
              <p:nvPr/>
            </p:nvSpPr>
            <p:spPr>
              <a:xfrm rot="344354">
                <a:off x="1566489" y="1944437"/>
                <a:ext cx="2506782" cy="2579452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  <a:effectLst>
                <a:outerShdw blurRad="197653" dist="38100" dir="8100000" algn="tr" rotWithShape="0">
                  <a:prstClr val="black">
                    <a:alpha val="52683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pic>
            <p:nvPicPr>
              <p:cNvPr id="13" name="Picture 12" descr="A collage of a person in a hospital bed&#10;&#10;Description automatically generated">
                <a:extLst>
                  <a:ext uri="{FF2B5EF4-FFF2-40B4-BE49-F238E27FC236}">
                    <a16:creationId xmlns:a16="http://schemas.microsoft.com/office/drawing/2014/main" id="{09589834-DE05-CB67-EC39-B5A6251FE85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sharpenSoften amount="25000"/>
                        </a14:imgEffect>
                        <a14:imgEffect>
                          <a14:colorTemperature colorTemp="7200"/>
                        </a14:imgEffect>
                        <a14:imgEffect>
                          <a14:brightnessContrast bright="20000"/>
                        </a14:imgEffect>
                      </a14:imgLayer>
                    </a14:imgProps>
                  </a:ext>
                </a:extLst>
              </a:blip>
              <a:srcRect t="26837" b="1927"/>
              <a:stretch/>
            </p:blipFill>
            <p:spPr>
              <a:xfrm rot="347117">
                <a:off x="1683803" y="2041621"/>
                <a:ext cx="2301081" cy="2246415"/>
              </a:xfrm>
              <a:prstGeom prst="rect">
                <a:avLst/>
              </a:prstGeom>
            </p:spPr>
          </p:pic>
        </p:grpSp>
      </p:grpSp>
      <p:sp>
        <p:nvSpPr>
          <p:cNvPr id="18" name="TextBox 17">
            <a:extLst>
              <a:ext uri="{FF2B5EF4-FFF2-40B4-BE49-F238E27FC236}">
                <a16:creationId xmlns:a16="http://schemas.microsoft.com/office/drawing/2014/main" id="{36C07449-F57C-648D-ED67-0067EC87EC30}"/>
              </a:ext>
            </a:extLst>
          </p:cNvPr>
          <p:cNvSpPr txBox="1"/>
          <p:nvPr/>
        </p:nvSpPr>
        <p:spPr>
          <a:xfrm>
            <a:off x="6397227" y="458304"/>
            <a:ext cx="5585292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b="1"/>
              <a:t>A significant market for gene therapy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04E7DFA5-6E05-E31E-0439-3AD8945809CC}"/>
              </a:ext>
            </a:extLst>
          </p:cNvPr>
          <p:cNvSpPr txBox="1"/>
          <p:nvPr/>
        </p:nvSpPr>
        <p:spPr>
          <a:xfrm>
            <a:off x="6512726" y="1282750"/>
            <a:ext cx="5354291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-152396" algn="ctr"/>
            <a:r>
              <a:rPr lang="en-US" sz="1600" b="1"/>
              <a:t>76K patients in developed market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9068A80-14CF-0987-C1F6-2C7300338DA5}"/>
              </a:ext>
            </a:extLst>
          </p:cNvPr>
          <p:cNvSpPr txBox="1"/>
          <p:nvPr/>
        </p:nvSpPr>
        <p:spPr>
          <a:xfrm>
            <a:off x="6512726" y="1907092"/>
            <a:ext cx="535429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600" b="1"/>
              <a:t>Increasing genotyping and diagnosi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2860DBC-A095-B7B7-E4C6-014786E3EFC7}"/>
              </a:ext>
            </a:extLst>
          </p:cNvPr>
          <p:cNvSpPr txBox="1"/>
          <p:nvPr/>
        </p:nvSpPr>
        <p:spPr>
          <a:xfrm>
            <a:off x="6512725" y="2593385"/>
            <a:ext cx="535429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-152396" algn="ctr"/>
            <a:r>
              <a:rPr lang="en-US" sz="1600" b="1"/>
              <a:t>Forecasted peak annual WW sales &gt;$2B</a:t>
            </a:r>
            <a:r>
              <a:rPr lang="en-US" sz="1600" b="1" baseline="30000"/>
              <a:t>2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7F64793-6E75-B4E1-78D0-98087B6E4D7B}"/>
              </a:ext>
            </a:extLst>
          </p:cNvPr>
          <p:cNvSpPr txBox="1">
            <a:spLocks/>
          </p:cNvSpPr>
          <p:nvPr/>
        </p:nvSpPr>
        <p:spPr>
          <a:xfrm>
            <a:off x="11557000" y="6311900"/>
            <a:ext cx="635000" cy="57308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609585" rtl="0" eaLnBrk="1" latinLnBrk="0" hangingPunct="1">
              <a:defRPr sz="907" kern="120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67E4F5-413A-C247-8645-9508D1B95787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10703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3A455A-BBBB-476B-BACD-42242D4059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C4343AD0-B7A1-7536-4B13-CF1E57B9459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4343AD0-B7A1-7536-4B13-CF1E57B945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1">
            <a:extLst>
              <a:ext uri="{FF2B5EF4-FFF2-40B4-BE49-F238E27FC236}">
                <a16:creationId xmlns:a16="http://schemas.microsoft.com/office/drawing/2014/main" id="{B6A32762-F5FE-DC53-4819-0B1F109F72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38100">
              <a:lnSpc>
                <a:spcPct val="100000"/>
              </a:lnSpc>
              <a:spcBef>
                <a:spcPts val="25"/>
              </a:spcBef>
            </a:pPr>
            <a:fld id="{81D60167-4931-47E6-BA6A-407CBD079E47}" type="slidenum">
              <a:rPr lang="en-US" spc="5" smtClean="0"/>
              <a:t>3</a:t>
            </a:fld>
            <a:endParaRPr lang="en-US" spc="5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1E902C75-C72B-539C-069A-5C6BFEA71877}"/>
              </a:ext>
            </a:extLst>
          </p:cNvPr>
          <p:cNvSpPr txBox="1">
            <a:spLocks/>
          </p:cNvSpPr>
          <p:nvPr/>
        </p:nvSpPr>
        <p:spPr>
          <a:xfrm>
            <a:off x="314458" y="91890"/>
            <a:ext cx="11472672" cy="89105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i="0" kern="1200">
                <a:solidFill>
                  <a:srgbClr val="4D565E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800">
                <a:solidFill>
                  <a:schemeClr val="tx2"/>
                </a:solidFill>
              </a:rPr>
              <a:t>AFTX-201 reversed disease pathology in the BAG3 </a:t>
            </a:r>
            <a:r>
              <a:rPr lang="en-US" sz="2800" err="1">
                <a:solidFill>
                  <a:schemeClr val="tx2"/>
                </a:solidFill>
              </a:rPr>
              <a:t>cKO</a:t>
            </a:r>
            <a:r>
              <a:rPr lang="en-US" sz="2800">
                <a:solidFill>
                  <a:schemeClr val="tx2"/>
                </a:solidFill>
              </a:rPr>
              <a:t> mouse model: increased EF and improved dilated cardiomyopathy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EA0D484-5473-8EBC-8855-92B11B8C7F70}"/>
              </a:ext>
            </a:extLst>
          </p:cNvPr>
          <p:cNvSpPr/>
          <p:nvPr/>
        </p:nvSpPr>
        <p:spPr>
          <a:xfrm>
            <a:off x="0" y="4835560"/>
            <a:ext cx="3070852" cy="1479010"/>
          </a:xfrm>
          <a:prstGeom prst="rect">
            <a:avLst/>
          </a:prstGeom>
          <a:solidFill>
            <a:srgbClr val="2B323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80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940627E-7CFE-2724-A80F-F1DCBC6C76DF}"/>
              </a:ext>
            </a:extLst>
          </p:cNvPr>
          <p:cNvSpPr/>
          <p:nvPr/>
        </p:nvSpPr>
        <p:spPr>
          <a:xfrm>
            <a:off x="3070852" y="4835559"/>
            <a:ext cx="9121148" cy="1479010"/>
          </a:xfrm>
          <a:prstGeom prst="rect">
            <a:avLst/>
          </a:prstGeom>
          <a:solidFill>
            <a:srgbClr val="1A20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id="{427BA615-39BB-2B22-4691-A7882FBC783F}"/>
              </a:ext>
            </a:extLst>
          </p:cNvPr>
          <p:cNvGrpSpPr/>
          <p:nvPr/>
        </p:nvGrpSpPr>
        <p:grpSpPr>
          <a:xfrm>
            <a:off x="314458" y="5300781"/>
            <a:ext cx="2498984" cy="583942"/>
            <a:chOff x="314458" y="5300781"/>
            <a:chExt cx="2498984" cy="583942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13A59249-D4EB-8F02-B952-DD81D30AC3CB}"/>
                </a:ext>
              </a:extLst>
            </p:cNvPr>
            <p:cNvSpPr/>
            <p:nvPr/>
          </p:nvSpPr>
          <p:spPr>
            <a:xfrm>
              <a:off x="998963" y="5323555"/>
              <a:ext cx="1814479" cy="53015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b="1">
                  <a:solidFill>
                    <a:schemeClr val="bg1"/>
                  </a:solidFill>
                </a:rPr>
                <a:t>Affinia solution: AFTX-201</a:t>
              </a:r>
            </a:p>
          </p:txBody>
        </p: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3CEA3152-C97E-445F-3114-4C4C1751BE2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73682"/>
            <a:stretch/>
          </p:blipFill>
          <p:spPr>
            <a:xfrm>
              <a:off x="314458" y="5300781"/>
              <a:ext cx="668732" cy="583942"/>
            </a:xfrm>
            <a:prstGeom prst="rect">
              <a:avLst/>
            </a:prstGeom>
          </p:spPr>
        </p:pic>
      </p:grpSp>
      <p:grpSp>
        <p:nvGrpSpPr>
          <p:cNvPr id="59" name="Group 58">
            <a:extLst>
              <a:ext uri="{FF2B5EF4-FFF2-40B4-BE49-F238E27FC236}">
                <a16:creationId xmlns:a16="http://schemas.microsoft.com/office/drawing/2014/main" id="{4B15046E-693D-0E01-E575-48CB5A5E61FE}"/>
              </a:ext>
            </a:extLst>
          </p:cNvPr>
          <p:cNvGrpSpPr/>
          <p:nvPr/>
        </p:nvGrpSpPr>
        <p:grpSpPr>
          <a:xfrm>
            <a:off x="3168082" y="4821309"/>
            <a:ext cx="8935865" cy="1466167"/>
            <a:chOff x="3168082" y="4821309"/>
            <a:chExt cx="8935865" cy="1466167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8EECD80F-EB23-4F7F-9BD1-55C1149EB2A9}"/>
                </a:ext>
              </a:extLst>
            </p:cNvPr>
            <p:cNvSpPr/>
            <p:nvPr/>
          </p:nvSpPr>
          <p:spPr>
            <a:xfrm>
              <a:off x="3306650" y="4821309"/>
              <a:ext cx="8797297" cy="53015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1450" indent="-17145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en-US" sz="1200">
                  <a:solidFill>
                    <a:schemeClr val="bg1"/>
                  </a:solidFill>
                </a:rPr>
                <a:t>Restore BAG3 protein to normal level with a full-length, fully-human BAG3 transgene using Affinia’s novel cardiotropic capsid</a:t>
              </a:r>
            </a:p>
            <a:p>
              <a:pPr marL="171450" indent="-171450">
                <a:lnSpc>
                  <a:spcPct val="150000"/>
                </a:lnSpc>
                <a:buFont typeface="Wingdings" panose="05000000000000000000" pitchFamily="2" charset="2"/>
                <a:buChar char="§"/>
              </a:pPr>
              <a:r>
                <a:rPr lang="en-US" sz="1200">
                  <a:solidFill>
                    <a:schemeClr val="bg1"/>
                  </a:solidFill>
                </a:rPr>
                <a:t>Reverse disease pathology: increase contractility, reduce dilation, increase ejection fraction and exercise capacity</a:t>
              </a:r>
            </a:p>
          </p:txBody>
        </p:sp>
        <p:sp>
          <p:nvSpPr>
            <p:cNvPr id="26" name="Arrow: Down 25">
              <a:extLst>
                <a:ext uri="{FF2B5EF4-FFF2-40B4-BE49-F238E27FC236}">
                  <a16:creationId xmlns:a16="http://schemas.microsoft.com/office/drawing/2014/main" id="{DF33225B-041F-5112-68C7-67A98E9726CD}"/>
                </a:ext>
              </a:extLst>
            </p:cNvPr>
            <p:cNvSpPr/>
            <p:nvPr/>
          </p:nvSpPr>
          <p:spPr>
            <a:xfrm flipV="1">
              <a:off x="4827865" y="5664058"/>
              <a:ext cx="320859" cy="336406"/>
            </a:xfrm>
            <a:prstGeom prst="downArrow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32283AD2-EA44-3099-3C78-850993FD999A}"/>
                </a:ext>
              </a:extLst>
            </p:cNvPr>
            <p:cNvSpPr/>
            <p:nvPr/>
          </p:nvSpPr>
          <p:spPr>
            <a:xfrm>
              <a:off x="5202490" y="5587414"/>
              <a:ext cx="1105579" cy="53015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 b="1">
                  <a:solidFill>
                    <a:schemeClr val="bg1"/>
                  </a:solidFill>
                </a:rPr>
                <a:t>BAG3 protein</a:t>
              </a: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78F8F0DE-F15C-B17F-CAB0-F29DDC9BC8F2}"/>
                </a:ext>
              </a:extLst>
            </p:cNvPr>
            <p:cNvSpPr/>
            <p:nvPr/>
          </p:nvSpPr>
          <p:spPr>
            <a:xfrm>
              <a:off x="7423461" y="5585257"/>
              <a:ext cx="1105579" cy="53015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 b="1">
                  <a:solidFill>
                    <a:schemeClr val="bg1"/>
                  </a:solidFill>
                </a:rPr>
                <a:t>Cardiac contractility</a:t>
              </a:r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45A96A67-CE71-434C-B779-C7D56AE0632D}"/>
                </a:ext>
              </a:extLst>
            </p:cNvPr>
            <p:cNvSpPr/>
            <p:nvPr/>
          </p:nvSpPr>
          <p:spPr>
            <a:xfrm>
              <a:off x="9874423" y="5372893"/>
              <a:ext cx="1214867" cy="53015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 b="1">
                  <a:solidFill>
                    <a:schemeClr val="bg1"/>
                  </a:solidFill>
                </a:rPr>
                <a:t>Dilated heart</a:t>
              </a:r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E774938C-1D4F-30A2-CB90-B48903BD075D}"/>
                </a:ext>
              </a:extLst>
            </p:cNvPr>
            <p:cNvSpPr/>
            <p:nvPr/>
          </p:nvSpPr>
          <p:spPr>
            <a:xfrm>
              <a:off x="9865690" y="5757321"/>
              <a:ext cx="2100215" cy="53015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200" b="1">
                  <a:solidFill>
                    <a:schemeClr val="bg1"/>
                  </a:solidFill>
                </a:rPr>
                <a:t>Patient exercise capacity</a:t>
              </a:r>
            </a:p>
          </p:txBody>
        </p:sp>
        <p:cxnSp>
          <p:nvCxnSpPr>
            <p:cNvPr id="31" name="Straight Arrow Connector 30">
              <a:extLst>
                <a:ext uri="{FF2B5EF4-FFF2-40B4-BE49-F238E27FC236}">
                  <a16:creationId xmlns:a16="http://schemas.microsoft.com/office/drawing/2014/main" id="{8EA687B1-848E-FF40-F231-3EB43550493A}"/>
                </a:ext>
              </a:extLst>
            </p:cNvPr>
            <p:cNvCxnSpPr>
              <a:cxnSpLocks/>
            </p:cNvCxnSpPr>
            <p:nvPr/>
          </p:nvCxnSpPr>
          <p:spPr>
            <a:xfrm>
              <a:off x="5994663" y="5850335"/>
              <a:ext cx="914400" cy="0"/>
            </a:xfrm>
            <a:prstGeom prst="straightConnector1">
              <a:avLst/>
            </a:prstGeom>
            <a:ln w="38100">
              <a:solidFill>
                <a:schemeClr val="bg1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3" name="Straight Arrow Connector 32">
              <a:extLst>
                <a:ext uri="{FF2B5EF4-FFF2-40B4-BE49-F238E27FC236}">
                  <a16:creationId xmlns:a16="http://schemas.microsoft.com/office/drawing/2014/main" id="{DC837327-D1F3-DDC0-CDE5-2822057EAAAA}"/>
                </a:ext>
              </a:extLst>
            </p:cNvPr>
            <p:cNvCxnSpPr>
              <a:cxnSpLocks/>
            </p:cNvCxnSpPr>
            <p:nvPr/>
          </p:nvCxnSpPr>
          <p:spPr>
            <a:xfrm>
              <a:off x="8510637" y="5850335"/>
              <a:ext cx="914400" cy="0"/>
            </a:xfrm>
            <a:prstGeom prst="straightConnector1">
              <a:avLst/>
            </a:prstGeom>
            <a:ln w="38100">
              <a:solidFill>
                <a:schemeClr val="bg1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4" name="Arrow: Down 33">
              <a:extLst>
                <a:ext uri="{FF2B5EF4-FFF2-40B4-BE49-F238E27FC236}">
                  <a16:creationId xmlns:a16="http://schemas.microsoft.com/office/drawing/2014/main" id="{876CCD9B-8D4E-F14D-E7AE-E67656DE7FD2}"/>
                </a:ext>
              </a:extLst>
            </p:cNvPr>
            <p:cNvSpPr/>
            <p:nvPr/>
          </p:nvSpPr>
          <p:spPr>
            <a:xfrm flipV="1">
              <a:off x="7093531" y="5655209"/>
              <a:ext cx="320859" cy="336406"/>
            </a:xfrm>
            <a:prstGeom prst="downArrow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5" name="Arrow: Down 34">
              <a:extLst>
                <a:ext uri="{FF2B5EF4-FFF2-40B4-BE49-F238E27FC236}">
                  <a16:creationId xmlns:a16="http://schemas.microsoft.com/office/drawing/2014/main" id="{5388E6EE-17E7-8FFA-FA89-077087E257F1}"/>
                </a:ext>
              </a:extLst>
            </p:cNvPr>
            <p:cNvSpPr/>
            <p:nvPr/>
          </p:nvSpPr>
          <p:spPr>
            <a:xfrm flipV="1">
              <a:off x="9495809" y="5877426"/>
              <a:ext cx="320859" cy="336406"/>
            </a:xfrm>
            <a:prstGeom prst="downArrow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bg1"/>
                </a:solidFill>
              </a:endParaRPr>
            </a:p>
          </p:txBody>
        </p:sp>
        <p:sp>
          <p:nvSpPr>
            <p:cNvPr id="36" name="Arrow: Down 35">
              <a:extLst>
                <a:ext uri="{FF2B5EF4-FFF2-40B4-BE49-F238E27FC236}">
                  <a16:creationId xmlns:a16="http://schemas.microsoft.com/office/drawing/2014/main" id="{752C7CE3-6AD4-D373-D36E-0B665F94B81E}"/>
                </a:ext>
              </a:extLst>
            </p:cNvPr>
            <p:cNvSpPr/>
            <p:nvPr/>
          </p:nvSpPr>
          <p:spPr>
            <a:xfrm>
              <a:off x="9494464" y="5515853"/>
              <a:ext cx="321406" cy="327882"/>
            </a:xfrm>
            <a:prstGeom prst="downArrow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39" name="Straight Arrow Connector 38">
              <a:extLst>
                <a:ext uri="{FF2B5EF4-FFF2-40B4-BE49-F238E27FC236}">
                  <a16:creationId xmlns:a16="http://schemas.microsoft.com/office/drawing/2014/main" id="{8D4C9565-955F-0AAD-D6FB-C3D7FB51E53F}"/>
                </a:ext>
              </a:extLst>
            </p:cNvPr>
            <p:cNvCxnSpPr>
              <a:cxnSpLocks/>
            </p:cNvCxnSpPr>
            <p:nvPr/>
          </p:nvCxnSpPr>
          <p:spPr>
            <a:xfrm>
              <a:off x="3762859" y="5860497"/>
              <a:ext cx="914400" cy="0"/>
            </a:xfrm>
            <a:prstGeom prst="straightConnector1">
              <a:avLst/>
            </a:prstGeom>
            <a:ln w="38100">
              <a:solidFill>
                <a:schemeClr val="bg1"/>
              </a:solidFill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11B27109-5C0C-BC2D-B42A-5EA7A0D1C63C}"/>
                </a:ext>
              </a:extLst>
            </p:cNvPr>
            <p:cNvGrpSpPr/>
            <p:nvPr/>
          </p:nvGrpSpPr>
          <p:grpSpPr>
            <a:xfrm>
              <a:off x="3168082" y="5598803"/>
              <a:ext cx="613708" cy="507792"/>
              <a:chOff x="3168082" y="4122226"/>
              <a:chExt cx="613708" cy="507792"/>
            </a:xfrm>
          </p:grpSpPr>
          <p:pic>
            <p:nvPicPr>
              <p:cNvPr id="41" name="Picture 40">
                <a:extLst>
                  <a:ext uri="{FF2B5EF4-FFF2-40B4-BE49-F238E27FC236}">
                    <a16:creationId xmlns:a16="http://schemas.microsoft.com/office/drawing/2014/main" id="{C1BE53C8-103B-8A28-50CC-CC555824909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>
                <a:clrChange>
                  <a:clrFrom>
                    <a:srgbClr val="FEFEFE"/>
                  </a:clrFrom>
                  <a:clrTo>
                    <a:srgbClr val="FEFEFE">
                      <a:alpha val="0"/>
                    </a:srgbClr>
                  </a:clrTo>
                </a:clrChange>
              </a:blip>
              <a:srcRect l="12697" t="22856" r="59699" b="11222"/>
              <a:stretch/>
            </p:blipFill>
            <p:spPr>
              <a:xfrm>
                <a:off x="3252521" y="4122226"/>
                <a:ext cx="468730" cy="507792"/>
              </a:xfrm>
              <a:prstGeom prst="ellipse">
                <a:avLst/>
              </a:prstGeom>
            </p:spPr>
          </p:pic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3993CB0B-EE72-4DD8-DC8C-0FFB41FDFB2C}"/>
                  </a:ext>
                </a:extLst>
              </p:cNvPr>
              <p:cNvSpPr/>
              <p:nvPr/>
            </p:nvSpPr>
            <p:spPr>
              <a:xfrm>
                <a:off x="3686245" y="4280744"/>
                <a:ext cx="95545" cy="145728"/>
              </a:xfrm>
              <a:prstGeom prst="rect">
                <a:avLst/>
              </a:prstGeom>
              <a:solidFill>
                <a:srgbClr val="1A202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8" name="Rectangle 57">
                <a:extLst>
                  <a:ext uri="{FF2B5EF4-FFF2-40B4-BE49-F238E27FC236}">
                    <a16:creationId xmlns:a16="http://schemas.microsoft.com/office/drawing/2014/main" id="{3D68E6F7-D582-F299-909B-27D19E67A22C}"/>
                  </a:ext>
                </a:extLst>
              </p:cNvPr>
              <p:cNvSpPr/>
              <p:nvPr/>
            </p:nvSpPr>
            <p:spPr>
              <a:xfrm>
                <a:off x="3168082" y="4297683"/>
                <a:ext cx="95545" cy="145728"/>
              </a:xfrm>
              <a:prstGeom prst="rect">
                <a:avLst/>
              </a:prstGeom>
              <a:solidFill>
                <a:srgbClr val="1A202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69" name="Group 68">
            <a:extLst>
              <a:ext uri="{FF2B5EF4-FFF2-40B4-BE49-F238E27FC236}">
                <a16:creationId xmlns:a16="http://schemas.microsoft.com/office/drawing/2014/main" id="{22D34A3A-6FE2-CA96-F614-9BACBC045ABB}"/>
              </a:ext>
            </a:extLst>
          </p:cNvPr>
          <p:cNvGrpSpPr/>
          <p:nvPr/>
        </p:nvGrpSpPr>
        <p:grpSpPr>
          <a:xfrm>
            <a:off x="2420573" y="1894371"/>
            <a:ext cx="7148180" cy="2955450"/>
            <a:chOff x="3511673" y="2316734"/>
            <a:chExt cx="5931472" cy="2533087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63FB16B6-5E97-C64B-8561-CF3501B4EA2E}"/>
                </a:ext>
              </a:extLst>
            </p:cNvPr>
            <p:cNvGrpSpPr/>
            <p:nvPr/>
          </p:nvGrpSpPr>
          <p:grpSpPr>
            <a:xfrm>
              <a:off x="6687787" y="2316734"/>
              <a:ext cx="2755358" cy="2470694"/>
              <a:chOff x="3189288" y="2753782"/>
              <a:chExt cx="2903537" cy="2827868"/>
            </a:xfrm>
          </p:grpSpPr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id="{87C17395-21C2-A1D5-424B-4EB8CEE72A7D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3189288" y="3197225"/>
                <a:ext cx="2903537" cy="2384425"/>
              </a:xfrm>
              <a:prstGeom prst="rect">
                <a:avLst/>
              </a:prstGeom>
            </p:spPr>
          </p:pic>
          <p:sp>
            <p:nvSpPr>
              <p:cNvPr id="18" name="TextBox 23">
                <a:extLst>
                  <a:ext uri="{FF2B5EF4-FFF2-40B4-BE49-F238E27FC236}">
                    <a16:creationId xmlns:a16="http://schemas.microsoft.com/office/drawing/2014/main" id="{45C408A4-1FBE-3B03-9357-BF87D4A8AF28}"/>
                  </a:ext>
                </a:extLst>
              </p:cNvPr>
              <p:cNvSpPr txBox="1"/>
              <p:nvPr/>
            </p:nvSpPr>
            <p:spPr>
              <a:xfrm>
                <a:off x="3471950" y="2753782"/>
                <a:ext cx="2338212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1400" b="1">
                    <a:latin typeface="+mj-lt"/>
                    <a:cs typeface="Calibri" panose="020F0502020204030204" pitchFamily="34" charset="0"/>
                  </a:rPr>
                  <a:t>Fractional shortening</a:t>
                </a:r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D4A5938F-FC2C-A2BE-F6EC-9224AF47C463}"/>
                </a:ext>
              </a:extLst>
            </p:cNvPr>
            <p:cNvGrpSpPr/>
            <p:nvPr/>
          </p:nvGrpSpPr>
          <p:grpSpPr>
            <a:xfrm>
              <a:off x="3511673" y="2316734"/>
              <a:ext cx="2692722" cy="2533087"/>
              <a:chOff x="217360" y="2804031"/>
              <a:chExt cx="3076575" cy="2808781"/>
            </a:xfrm>
          </p:grpSpPr>
          <p:sp>
            <p:nvSpPr>
              <p:cNvPr id="5" name="TextBox 26">
                <a:extLst>
                  <a:ext uri="{FF2B5EF4-FFF2-40B4-BE49-F238E27FC236}">
                    <a16:creationId xmlns:a16="http://schemas.microsoft.com/office/drawing/2014/main" id="{8432D050-B7C6-7E61-B9C1-F71EBC3EB941}"/>
                  </a:ext>
                </a:extLst>
              </p:cNvPr>
              <p:cNvSpPr txBox="1"/>
              <p:nvPr/>
            </p:nvSpPr>
            <p:spPr>
              <a:xfrm>
                <a:off x="680777" y="2804031"/>
                <a:ext cx="2373528" cy="3412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609585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609585" algn="l" defTabSz="609585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219170" algn="l" defTabSz="609585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828754" algn="l" defTabSz="609585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438339" algn="l" defTabSz="609585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3047924" algn="l" defTabSz="609585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3657509" algn="l" defTabSz="609585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4267093" algn="l" defTabSz="609585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4876678" algn="l" defTabSz="609585" rtl="0" eaLnBrk="1" latinLnBrk="0" hangingPunct="1">
                  <a:defRPr sz="24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1400" b="1">
                    <a:latin typeface="+mj-lt"/>
                    <a:cs typeface="Calibri" panose="020F0502020204030204" pitchFamily="34" charset="0"/>
                  </a:rPr>
                  <a:t>Ejection fraction</a:t>
                </a:r>
              </a:p>
            </p:txBody>
          </p:sp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D3B79D7E-4E41-CB45-4999-C1F4542EFDD2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217360" y="3120437"/>
                <a:ext cx="3076575" cy="2492375"/>
              </a:xfrm>
              <a:prstGeom prst="rect">
                <a:avLst/>
              </a:prstGeom>
            </p:spPr>
          </p:pic>
        </p:grpSp>
      </p:grpSp>
      <p:sp>
        <p:nvSpPr>
          <p:cNvPr id="67" name="Parallelogram 66">
            <a:extLst>
              <a:ext uri="{FF2B5EF4-FFF2-40B4-BE49-F238E27FC236}">
                <a16:creationId xmlns:a16="http://schemas.microsoft.com/office/drawing/2014/main" id="{808F2960-8FC8-E15A-761B-6D0502E8CC47}"/>
              </a:ext>
            </a:extLst>
          </p:cNvPr>
          <p:cNvSpPr/>
          <p:nvPr/>
        </p:nvSpPr>
        <p:spPr>
          <a:xfrm>
            <a:off x="1133493" y="1086116"/>
            <a:ext cx="9955797" cy="750799"/>
          </a:xfrm>
          <a:prstGeom prst="parallelogram">
            <a:avLst>
              <a:gd name="adj" fmla="val 106792"/>
            </a:avLst>
          </a:prstGeom>
          <a:gradFill>
            <a:gsLst>
              <a:gs pos="0">
                <a:schemeClr val="accent2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sp>
        <p:nvSpPr>
          <p:cNvPr id="68" name="TextBox 3">
            <a:extLst>
              <a:ext uri="{FF2B5EF4-FFF2-40B4-BE49-F238E27FC236}">
                <a16:creationId xmlns:a16="http://schemas.microsoft.com/office/drawing/2014/main" id="{A3DCE099-9137-F01C-9ECF-F2E86C7C2509}"/>
              </a:ext>
            </a:extLst>
          </p:cNvPr>
          <p:cNvSpPr txBox="1"/>
          <p:nvPr/>
        </p:nvSpPr>
        <p:spPr>
          <a:xfrm>
            <a:off x="1739134" y="1144864"/>
            <a:ext cx="878738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>
                <a:solidFill>
                  <a:schemeClr val="bg1"/>
                </a:solidFill>
                <a:effectLst/>
                <a:ea typeface="Aptos" panose="020B0004020202020204" pitchFamily="34" charset="0"/>
                <a:cs typeface="Times New Roman" panose="02020603050405020304" pitchFamily="18" charset="0"/>
              </a:rPr>
              <a:t>BAG3 cKO mouse model closely mimics the structural, functional, and molecular defects observed in patients affected by BAG3 DCM</a:t>
            </a:r>
            <a:endParaRPr lang="en-US" sz="1800" b="1">
              <a:solidFill>
                <a:schemeClr val="bg1"/>
              </a:solidFill>
              <a:latin typeface="+mj-lt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172320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5BA1AFD5-BC36-219F-9703-BE65E0D9B4E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856312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BA1AFD5-BC36-219F-9703-BE65E0D9B4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1561A97-DC33-B4FE-A991-B8C7AEDF1C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2893" y="48822"/>
            <a:ext cx="11472672" cy="913922"/>
          </a:xfrm>
        </p:spPr>
        <p:txBody>
          <a:bodyPr vert="horz"/>
          <a:lstStyle/>
          <a:p>
            <a:r>
              <a:rPr lang="en-US" sz="2800">
                <a:solidFill>
                  <a:schemeClr val="tx2"/>
                </a:solidFill>
              </a:rPr>
              <a:t>Affinia’s novel cardiotropic capsids are engineered to address the limitations of conventional capsids in heart disease</a:t>
            </a:r>
          </a:p>
        </p:txBody>
      </p:sp>
      <p:sp>
        <p:nvSpPr>
          <p:cNvPr id="7" name="Slide Number Placeholder 1">
            <a:extLst>
              <a:ext uri="{FF2B5EF4-FFF2-40B4-BE49-F238E27FC236}">
                <a16:creationId xmlns:a16="http://schemas.microsoft.com/office/drawing/2014/main" id="{9D4F6CBB-9BAC-F183-E0FE-645DB4A4D865}"/>
              </a:ext>
            </a:extLst>
          </p:cNvPr>
          <p:cNvSpPr txBox="1">
            <a:spLocks/>
          </p:cNvSpPr>
          <p:nvPr/>
        </p:nvSpPr>
        <p:spPr>
          <a:xfrm>
            <a:off x="11556585" y="6311900"/>
            <a:ext cx="635415" cy="573024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19170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2875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3833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47924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57509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267093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76678" algn="l" defTabSz="609585" rtl="0" eaLnBrk="1" latinLnBrk="0" hangingPunct="1"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8100" algn="ctr">
              <a:spcBef>
                <a:spcPts val="25"/>
              </a:spcBef>
            </a:pPr>
            <a:fld id="{81D60167-4931-47E6-BA6A-407CBD079E47}" type="slidenum">
              <a:rPr lang="en-US" sz="900" spc="5" smtClean="0">
                <a:solidFill>
                  <a:schemeClr val="bg1"/>
                </a:solidFill>
              </a:rPr>
              <a:pPr marL="38100" algn="ctr">
                <a:spcBef>
                  <a:spcPts val="25"/>
                </a:spcBef>
              </a:pPr>
              <a:t>4</a:t>
            </a:fld>
            <a:endParaRPr lang="en-US" sz="900" spc="5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3FB193E-5FDE-E14A-07A1-F48B71CBEA06}"/>
              </a:ext>
            </a:extLst>
          </p:cNvPr>
          <p:cNvSpPr/>
          <p:nvPr/>
        </p:nvSpPr>
        <p:spPr>
          <a:xfrm>
            <a:off x="-2" y="6310745"/>
            <a:ext cx="7171363" cy="5472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800">
                <a:solidFill>
                  <a:schemeClr val="bg1"/>
                </a:solidFill>
              </a:rPr>
              <a:t>1) Internal analysis based on public information from AAV9-based clinical programs</a:t>
            </a:r>
          </a:p>
          <a:p>
            <a:r>
              <a:rPr lang="en-US" sz="800">
                <a:solidFill>
                  <a:schemeClr val="bg1"/>
                </a:solidFill>
              </a:rPr>
              <a:t>Left: PR-0025 cynos (n=3-4), CAG.GFP 3e13 vg/kg IV, day 28; heart LV % cardiomyocytes GFP+</a:t>
            </a:r>
          </a:p>
          <a:p>
            <a:r>
              <a:rPr lang="en-US" sz="800">
                <a:solidFill>
                  <a:srgbClr val="FFFFFF"/>
                </a:solidFill>
                <a:cs typeface="Arial"/>
              </a:rPr>
              <a:t>Right: iPSC derived cardiomyocytes, 96-well assay, 50K cells per well, 72h incubation, in duplicate</a:t>
            </a:r>
            <a:endParaRPr lang="en-US" sz="800">
              <a:solidFill>
                <a:schemeClr val="bg1"/>
              </a:solidFill>
            </a:endParaRPr>
          </a:p>
        </p:txBody>
      </p:sp>
      <p:sp>
        <p:nvSpPr>
          <p:cNvPr id="59" name="Rectangle 58">
            <a:extLst>
              <a:ext uri="{FF2B5EF4-FFF2-40B4-BE49-F238E27FC236}">
                <a16:creationId xmlns:a16="http://schemas.microsoft.com/office/drawing/2014/main" id="{68E3B2F2-7466-CDF1-0E6A-69141481AC1D}"/>
              </a:ext>
            </a:extLst>
          </p:cNvPr>
          <p:cNvSpPr/>
          <p:nvPr/>
        </p:nvSpPr>
        <p:spPr>
          <a:xfrm>
            <a:off x="303287" y="1580602"/>
            <a:ext cx="5260338" cy="43915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D13D20D9-88B4-1F95-E1EF-473D18863ACF}"/>
              </a:ext>
            </a:extLst>
          </p:cNvPr>
          <p:cNvSpPr/>
          <p:nvPr/>
        </p:nvSpPr>
        <p:spPr>
          <a:xfrm>
            <a:off x="5792809" y="1580602"/>
            <a:ext cx="5992756" cy="43915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 60">
            <a:extLst>
              <a:ext uri="{FF2B5EF4-FFF2-40B4-BE49-F238E27FC236}">
                <a16:creationId xmlns:a16="http://schemas.microsoft.com/office/drawing/2014/main" id="{0E009A60-5A43-25CD-98FE-CB3CB8CE2336}"/>
              </a:ext>
            </a:extLst>
          </p:cNvPr>
          <p:cNvSpPr/>
          <p:nvPr/>
        </p:nvSpPr>
        <p:spPr>
          <a:xfrm>
            <a:off x="5844240" y="2396491"/>
            <a:ext cx="5883067" cy="357561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2" name="Table 61">
            <a:extLst>
              <a:ext uri="{FF2B5EF4-FFF2-40B4-BE49-F238E27FC236}">
                <a16:creationId xmlns:a16="http://schemas.microsoft.com/office/drawing/2014/main" id="{943BF4F9-4E7A-B636-2744-6752072326E5}"/>
              </a:ext>
            </a:extLst>
          </p:cNvPr>
          <p:cNvGraphicFramePr>
            <a:graphicFrameLocks noGrp="1"/>
          </p:cNvGraphicFramePr>
          <p:nvPr/>
        </p:nvGraphicFramePr>
        <p:xfrm>
          <a:off x="243410" y="2776272"/>
          <a:ext cx="4191234" cy="35941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97078">
                  <a:extLst>
                    <a:ext uri="{9D8B030D-6E8A-4147-A177-3AD203B41FA5}">
                      <a16:colId xmlns:a16="http://schemas.microsoft.com/office/drawing/2014/main" val="1163281027"/>
                    </a:ext>
                  </a:extLst>
                </a:gridCol>
                <a:gridCol w="1397078">
                  <a:extLst>
                    <a:ext uri="{9D8B030D-6E8A-4147-A177-3AD203B41FA5}">
                      <a16:colId xmlns:a16="http://schemas.microsoft.com/office/drawing/2014/main" val="1210566276"/>
                    </a:ext>
                  </a:extLst>
                </a:gridCol>
                <a:gridCol w="1397078">
                  <a:extLst>
                    <a:ext uri="{9D8B030D-6E8A-4147-A177-3AD203B41FA5}">
                      <a16:colId xmlns:a16="http://schemas.microsoft.com/office/drawing/2014/main" val="1530256990"/>
                    </a:ext>
                  </a:extLst>
                </a:gridCol>
              </a:tblGrid>
              <a:tr h="1039468">
                <a:tc>
                  <a:txBody>
                    <a:bodyPr/>
                    <a:lstStyle/>
                    <a:p>
                      <a:pPr algn="r"/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&gt;30%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AAV dose</a:t>
                      </a:r>
                    </a:p>
                    <a:p>
                      <a:pPr marL="0" marR="0" lvl="0" indent="0" algn="ctr" defTabSz="91437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≥ 1e14 </a:t>
                      </a:r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vg/kg IV</a:t>
                      </a:r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87154060"/>
                  </a:ext>
                </a:extLst>
              </a:tr>
              <a:tr h="1515167">
                <a:tc>
                  <a:txBody>
                    <a:bodyPr/>
                    <a:lstStyle/>
                    <a:p>
                      <a:pPr algn="r"/>
                      <a:r>
                        <a:rPr lang="en-US" sz="1200" b="0">
                          <a:solidFill>
                            <a:schemeClr val="tx1"/>
                          </a:solidFill>
                        </a:rPr>
                        <a:t>&lt;30%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AAV dose</a:t>
                      </a:r>
                    </a:p>
                    <a:p>
                      <a:pPr algn="ctr"/>
                      <a:r>
                        <a:rPr lang="en-US" sz="1200" b="1">
                          <a:solidFill>
                            <a:schemeClr val="tx1"/>
                          </a:solidFill>
                        </a:rPr>
                        <a:t>≤ 6e13 vg/kg IV</a:t>
                      </a:r>
                    </a:p>
                    <a:p>
                      <a:pPr algn="ctr"/>
                      <a:endParaRPr lang="en-US" sz="120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44041105"/>
                  </a:ext>
                </a:extLst>
              </a:tr>
              <a:tr h="1039468">
                <a:tc>
                  <a:txBody>
                    <a:bodyPr/>
                    <a:lstStyle/>
                    <a:p>
                      <a:pPr algn="r"/>
                      <a:endParaRPr lang="en-US" sz="1200" b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Dose not tolerated</a:t>
                      </a: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Dose</a:t>
                      </a:r>
                    </a:p>
                    <a:p>
                      <a:pPr algn="ctr"/>
                      <a:r>
                        <a:rPr lang="en-US" sz="1200">
                          <a:solidFill>
                            <a:schemeClr val="tx1"/>
                          </a:solidFill>
                        </a:rPr>
                        <a:t>tolerated</a:t>
                      </a:r>
                    </a:p>
                  </a:txBody>
                  <a:tcPr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8776942"/>
                  </a:ext>
                </a:extLst>
              </a:tr>
            </a:tbl>
          </a:graphicData>
        </a:graphic>
      </p:graphicFrame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721CC2B3-C138-DCE5-1104-50431307AD79}"/>
              </a:ext>
            </a:extLst>
          </p:cNvPr>
          <p:cNvCxnSpPr>
            <a:cxnSpLocks/>
          </p:cNvCxnSpPr>
          <p:nvPr/>
        </p:nvCxnSpPr>
        <p:spPr>
          <a:xfrm flipV="1">
            <a:off x="1667239" y="2560296"/>
            <a:ext cx="0" cy="2778349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89F9BA7F-54E3-2353-320B-8F6374E5AEF3}"/>
              </a:ext>
            </a:extLst>
          </p:cNvPr>
          <p:cNvCxnSpPr>
            <a:cxnSpLocks/>
          </p:cNvCxnSpPr>
          <p:nvPr/>
        </p:nvCxnSpPr>
        <p:spPr>
          <a:xfrm>
            <a:off x="1661452" y="5338645"/>
            <a:ext cx="2985494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Rectangle 64">
            <a:extLst>
              <a:ext uri="{FF2B5EF4-FFF2-40B4-BE49-F238E27FC236}">
                <a16:creationId xmlns:a16="http://schemas.microsoft.com/office/drawing/2014/main" id="{B570AA66-AEE7-5701-BEC0-F665C25F346F}"/>
              </a:ext>
            </a:extLst>
          </p:cNvPr>
          <p:cNvSpPr/>
          <p:nvPr/>
        </p:nvSpPr>
        <p:spPr>
          <a:xfrm rot="5400000" flipH="1" flipV="1">
            <a:off x="-417730" y="3740909"/>
            <a:ext cx="2778346" cy="57455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% cardiomyocytes transduced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05B3158F-6680-C947-1C0A-2C54E5137C60}"/>
              </a:ext>
            </a:extLst>
          </p:cNvPr>
          <p:cNvSpPr/>
          <p:nvPr/>
        </p:nvSpPr>
        <p:spPr>
          <a:xfrm>
            <a:off x="420926" y="1797564"/>
            <a:ext cx="4924308" cy="4256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In clinical trials, conventional capsids have been unable to transduce &gt;30% cardiomyocyte at tolerated doses</a:t>
            </a:r>
            <a:r>
              <a:rPr lang="en-US" sz="1400" b="1" baseline="30000">
                <a:solidFill>
                  <a:schemeClr val="tx1"/>
                </a:solidFill>
              </a:rPr>
              <a:t>1</a:t>
            </a:r>
            <a:endParaRPr lang="en-US" sz="1400" b="1">
              <a:solidFill>
                <a:schemeClr val="tx1"/>
              </a:solidFill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F09E00BE-1A07-13D5-E3A7-70178B4E1A1C}"/>
              </a:ext>
            </a:extLst>
          </p:cNvPr>
          <p:cNvSpPr/>
          <p:nvPr/>
        </p:nvSpPr>
        <p:spPr>
          <a:xfrm>
            <a:off x="5844240" y="1742903"/>
            <a:ext cx="5883067" cy="53496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>
                <a:solidFill>
                  <a:schemeClr val="tx1"/>
                </a:solidFill>
              </a:rPr>
              <a:t>Affinia’s novel cardiotropic capsids have demonstrated superiority vs. conventional capsids in NHP and in human cardiomyocytes</a:t>
            </a:r>
          </a:p>
        </p:txBody>
      </p:sp>
      <p:sp>
        <p:nvSpPr>
          <p:cNvPr id="68" name="Oval 67">
            <a:extLst>
              <a:ext uri="{FF2B5EF4-FFF2-40B4-BE49-F238E27FC236}">
                <a16:creationId xmlns:a16="http://schemas.microsoft.com/office/drawing/2014/main" id="{03DD0EAA-37E1-38B5-2F89-60D8E83D4C3D}"/>
              </a:ext>
            </a:extLst>
          </p:cNvPr>
          <p:cNvSpPr/>
          <p:nvPr/>
        </p:nvSpPr>
        <p:spPr>
          <a:xfrm>
            <a:off x="3174994" y="2764928"/>
            <a:ext cx="1044857" cy="958929"/>
          </a:xfrm>
          <a:prstGeom prst="ellipse">
            <a:avLst/>
          </a:prstGeom>
          <a:gradFill>
            <a:gsLst>
              <a:gs pos="0">
                <a:schemeClr val="accent2"/>
              </a:gs>
              <a:gs pos="100000">
                <a:schemeClr val="accent1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/>
              <a:t>Target capsid profile</a:t>
            </a:r>
          </a:p>
        </p:txBody>
      </p:sp>
      <p:graphicFrame>
        <p:nvGraphicFramePr>
          <p:cNvPr id="69" name="Object 68">
            <a:extLst>
              <a:ext uri="{FF2B5EF4-FFF2-40B4-BE49-F238E27FC236}">
                <a16:creationId xmlns:a16="http://schemas.microsoft.com/office/drawing/2014/main" id="{B553F0A9-DE2E-E03E-DBCA-C9BBEE04C00C}"/>
              </a:ext>
            </a:extLst>
          </p:cNvPr>
          <p:cNvGraphicFramePr>
            <a:graphicFrameLocks noChangeAspect="1"/>
          </p:cNvGraphicFramePr>
          <p:nvPr/>
        </p:nvGraphicFramePr>
        <p:xfrm>
          <a:off x="8456856" y="3437707"/>
          <a:ext cx="3043238" cy="22780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rism 10" r:id="rId6" imgW="3169554" imgH="2375576" progId="Prism10.Document">
                  <p:embed/>
                </p:oleObj>
              </mc:Choice>
              <mc:Fallback>
                <p:oleObj name="Prism 10" r:id="rId6" imgW="3169554" imgH="2375576" progId="Prism10.Document">
                  <p:embed/>
                  <p:pic>
                    <p:nvPicPr>
                      <p:cNvPr id="69" name="Object 68">
                        <a:extLst>
                          <a:ext uri="{FF2B5EF4-FFF2-40B4-BE49-F238E27FC236}">
                            <a16:creationId xmlns:a16="http://schemas.microsoft.com/office/drawing/2014/main" id="{B553F0A9-DE2E-E03E-DBCA-C9BBEE04C0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8456856" y="3437707"/>
                        <a:ext cx="3043238" cy="2278062"/>
                      </a:xfrm>
                      <a:prstGeom prst="rect">
                        <a:avLst/>
                      </a:prstGeom>
                      <a:ln w="38100"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70" name="Rectangle 69">
            <a:extLst>
              <a:ext uri="{FF2B5EF4-FFF2-40B4-BE49-F238E27FC236}">
                <a16:creationId xmlns:a16="http://schemas.microsoft.com/office/drawing/2014/main" id="{5C9123B3-1A4E-23D1-8FA6-C0463BFE77F8}"/>
              </a:ext>
            </a:extLst>
          </p:cNvPr>
          <p:cNvSpPr/>
          <p:nvPr/>
        </p:nvSpPr>
        <p:spPr>
          <a:xfrm>
            <a:off x="8906604" y="2718285"/>
            <a:ext cx="2593489" cy="4256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Head-to-head capsid performance in </a:t>
            </a:r>
            <a:r>
              <a:rPr lang="en-US" sz="1200" b="1">
                <a:solidFill>
                  <a:schemeClr val="tx1"/>
                </a:solidFill>
              </a:rPr>
              <a:t>NHP heart </a:t>
            </a:r>
            <a:r>
              <a:rPr lang="en-US" sz="1200">
                <a:solidFill>
                  <a:schemeClr val="tx1"/>
                </a:solidFill>
              </a:rPr>
              <a:t>at 3e13 vg/kg IV</a:t>
            </a:r>
          </a:p>
        </p:txBody>
      </p:sp>
      <p:graphicFrame>
        <p:nvGraphicFramePr>
          <p:cNvPr id="71" name="Object 70">
            <a:extLst>
              <a:ext uri="{FF2B5EF4-FFF2-40B4-BE49-F238E27FC236}">
                <a16:creationId xmlns:a16="http://schemas.microsoft.com/office/drawing/2014/main" id="{7255650B-8A93-4B56-2C09-51CEAF335E87}"/>
              </a:ext>
            </a:extLst>
          </p:cNvPr>
          <p:cNvGraphicFramePr>
            <a:graphicFrameLocks noChangeAspect="1"/>
          </p:cNvGraphicFramePr>
          <p:nvPr/>
        </p:nvGraphicFramePr>
        <p:xfrm>
          <a:off x="5960030" y="3213185"/>
          <a:ext cx="2432150" cy="25978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rism 10" r:id="rId8" imgW="6238631" imgH="6661049" progId="Prism10.Document">
                  <p:embed/>
                </p:oleObj>
              </mc:Choice>
              <mc:Fallback>
                <p:oleObj name="Prism 10" r:id="rId8" imgW="6238631" imgH="6661049" progId="Prism10.Document">
                  <p:embed/>
                  <p:pic>
                    <p:nvPicPr>
                      <p:cNvPr id="71" name="Object 70">
                        <a:extLst>
                          <a:ext uri="{FF2B5EF4-FFF2-40B4-BE49-F238E27FC236}">
                            <a16:creationId xmlns:a16="http://schemas.microsoft.com/office/drawing/2014/main" id="{7255650B-8A93-4B56-2C09-51CEAF335E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5960030" y="3213185"/>
                        <a:ext cx="2432150" cy="25978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2" name="Rectangle 71">
            <a:extLst>
              <a:ext uri="{FF2B5EF4-FFF2-40B4-BE49-F238E27FC236}">
                <a16:creationId xmlns:a16="http://schemas.microsoft.com/office/drawing/2014/main" id="{52093570-F7DE-7A57-C25F-9FC6485C03AF}"/>
              </a:ext>
            </a:extLst>
          </p:cNvPr>
          <p:cNvSpPr/>
          <p:nvPr/>
        </p:nvSpPr>
        <p:spPr>
          <a:xfrm>
            <a:off x="5869254" y="2718285"/>
            <a:ext cx="2522926" cy="42564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tx1"/>
                </a:solidFill>
              </a:rPr>
              <a:t>Head-to-head capsid performance in </a:t>
            </a:r>
            <a:r>
              <a:rPr lang="en-US" sz="1200" b="1">
                <a:solidFill>
                  <a:schemeClr val="tx1"/>
                </a:solidFill>
              </a:rPr>
              <a:t>human cardiomyocytes</a:t>
            </a:r>
          </a:p>
        </p:txBody>
      </p:sp>
    </p:spTree>
    <p:extLst>
      <p:ext uri="{BB962C8B-B14F-4D97-AF65-F5344CB8AC3E}">
        <p14:creationId xmlns:p14="http://schemas.microsoft.com/office/powerpoint/2010/main" val="408987039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00C930A-1228-3C97-05E8-45FC9A13154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74920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03" imgH="503" progId="TCLayout.ActiveDocument.1">
                  <p:embed/>
                </p:oleObj>
              </mc:Choice>
              <mc:Fallback>
                <p:oleObj name="think-cell Slide" r:id="rId4" imgW="503" imgH="50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00C930A-1228-3C97-05E8-45FC9A1315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A3221C7-DD0B-E7C5-CF07-0F19767894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>
                <a:latin typeface="Arial"/>
                <a:cs typeface="Arial"/>
              </a:rPr>
              <a:t>Process development for AFTX-20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CA9FCAE-4DB7-AD4B-FB08-F03A25917BC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418639" y="1157135"/>
            <a:ext cx="8246057" cy="4807042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 algn="ctr">
              <a:buNone/>
            </a:pPr>
            <a:r>
              <a:rPr lang="en-US" sz="2000" dirty="0">
                <a:latin typeface="Arial"/>
                <a:cs typeface="Arial"/>
              </a:rPr>
              <a:t>Goal was to develop a robust process for a </a:t>
            </a:r>
            <a:r>
              <a:rPr lang="en-US" sz="2000" b="1" dirty="0">
                <a:latin typeface="Arial"/>
                <a:cs typeface="Arial"/>
              </a:rPr>
              <a:t>novel capsid</a:t>
            </a:r>
            <a:r>
              <a:rPr lang="en-US" sz="2000" dirty="0">
                <a:latin typeface="Arial"/>
                <a:cs typeface="Arial"/>
              </a:rPr>
              <a:t> to support a Phase 1/2 clinical trial for BAG3 DCM</a:t>
            </a:r>
            <a:endParaRPr lang="en-US" sz="20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227965" indent="-227965"/>
            <a:r>
              <a:rPr lang="en-US" sz="1800" dirty="0">
                <a:latin typeface="Arial"/>
                <a:cs typeface="Arial"/>
              </a:rPr>
              <a:t>High-Yielding</a:t>
            </a:r>
            <a:endParaRPr lang="en-US" dirty="0"/>
          </a:p>
          <a:p>
            <a:pPr marL="685165" lvl="1" indent="-227965"/>
            <a:r>
              <a:rPr lang="en-US" sz="1800" dirty="0">
                <a:latin typeface="Arial"/>
                <a:cs typeface="Arial"/>
              </a:rPr>
              <a:t>Conduct manufacturability assessment during capsid selection to ensure good productivity of novel capsid</a:t>
            </a:r>
          </a:p>
          <a:p>
            <a:pPr marL="685165" lvl="1" indent="-227965"/>
            <a:r>
              <a:rPr lang="en-US" sz="1800" dirty="0">
                <a:latin typeface="Arial"/>
                <a:cs typeface="Arial"/>
              </a:rPr>
              <a:t>Enable lower manufacturing costs</a:t>
            </a:r>
          </a:p>
          <a:p>
            <a:pPr marL="227965" indent="-227965"/>
            <a:r>
              <a:rPr lang="en-US" sz="1800" dirty="0">
                <a:latin typeface="Arial"/>
                <a:cs typeface="Arial"/>
              </a:rPr>
              <a:t>High performing</a:t>
            </a:r>
          </a:p>
          <a:p>
            <a:pPr marL="685165" lvl="1" indent="-227965"/>
            <a:r>
              <a:rPr lang="en-US" sz="1800" dirty="0">
                <a:latin typeface="Arial"/>
                <a:cs typeface="Arial"/>
              </a:rPr>
              <a:t>Achieve low residuals and high % full capsids</a:t>
            </a:r>
          </a:p>
          <a:p>
            <a:pPr marL="227965" indent="-227965"/>
            <a:r>
              <a:rPr lang="en-US" sz="1800" dirty="0">
                <a:latin typeface="Arial"/>
                <a:cs typeface="Arial"/>
              </a:rPr>
              <a:t>Stability</a:t>
            </a:r>
          </a:p>
          <a:p>
            <a:pPr marL="685165" lvl="1" indent="-227965"/>
            <a:r>
              <a:rPr lang="en-US" sz="1800" dirty="0">
                <a:latin typeface="Arial"/>
                <a:cs typeface="Arial"/>
              </a:rPr>
              <a:t>Conduct manufacturability assessment to ensure stability of novel capsids</a:t>
            </a:r>
            <a:endParaRPr lang="en-US" dirty="0"/>
          </a:p>
          <a:p>
            <a:pPr marL="227965" indent="-227965"/>
            <a:r>
              <a:rPr lang="en-US" sz="1800" dirty="0">
                <a:latin typeface="Arial"/>
                <a:cs typeface="Arial"/>
              </a:rPr>
              <a:t>Flexibility</a:t>
            </a:r>
          </a:p>
          <a:p>
            <a:pPr marL="685165" lvl="1" indent="-227965"/>
            <a:r>
              <a:rPr lang="en-US" sz="1800" dirty="0">
                <a:latin typeface="Arial"/>
                <a:cs typeface="Arial"/>
              </a:rPr>
              <a:t>Demonstrate strong performance across multiple payloads and capsids</a:t>
            </a:r>
            <a:endParaRPr lang="en-US" sz="1800" dirty="0"/>
          </a:p>
          <a:p>
            <a:pPr marL="685165" lvl="1" indent="-227965"/>
            <a:endParaRPr lang="en-US"/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75256A32-4121-6A56-3B1E-536D676DDEAD}"/>
              </a:ext>
            </a:extLst>
          </p:cNvPr>
          <p:cNvGrpSpPr/>
          <p:nvPr/>
        </p:nvGrpSpPr>
        <p:grpSpPr>
          <a:xfrm>
            <a:off x="481715" y="1489021"/>
            <a:ext cx="2677435" cy="3323205"/>
            <a:chOff x="867538" y="1932717"/>
            <a:chExt cx="2677435" cy="3323205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FD23EA19-F0DE-5C6C-0794-4BD8099C75C8}"/>
                </a:ext>
              </a:extLst>
            </p:cNvPr>
            <p:cNvSpPr txBox="1"/>
            <p:nvPr/>
          </p:nvSpPr>
          <p:spPr>
            <a:xfrm>
              <a:off x="1411182" y="1932717"/>
              <a:ext cx="1590148" cy="46166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/>
                <a:t>AFTX-201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59C99D0D-2D46-4681-CF7B-2A2E99BAB404}"/>
                </a:ext>
              </a:extLst>
            </p:cNvPr>
            <p:cNvSpPr txBox="1"/>
            <p:nvPr/>
          </p:nvSpPr>
          <p:spPr>
            <a:xfrm>
              <a:off x="867538" y="4671147"/>
              <a:ext cx="2677435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/>
                <a:t>ATC-0187</a:t>
              </a:r>
            </a:p>
            <a:p>
              <a:pPr algn="ctr"/>
              <a:r>
                <a:rPr lang="en-US" sz="1600"/>
                <a:t>AAV9 with peptide insertion</a:t>
              </a:r>
            </a:p>
          </p:txBody>
        </p:sp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B54C04FB-70BC-B51C-6C89-D4690B4D87F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084069" y="2348936"/>
              <a:ext cx="2244372" cy="2322211"/>
            </a:xfrm>
            <a:prstGeom prst="rect">
              <a:avLst/>
            </a:prstGeom>
          </p:spPr>
        </p:pic>
      </p:grpSp>
      <p:pic>
        <p:nvPicPr>
          <p:cNvPr id="24" name="Picture 23">
            <a:extLst>
              <a:ext uri="{FF2B5EF4-FFF2-40B4-BE49-F238E27FC236}">
                <a16:creationId xmlns:a16="http://schemas.microsoft.com/office/drawing/2014/main" id="{27958EB7-F4F4-3E16-0314-3A1E2A4D157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6333200"/>
            <a:ext cx="1634313" cy="210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4965866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C3726F-1245-D421-F64F-66CBC8228D6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0DC63B6-29B1-35F1-BFAF-CEDC15617EB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34911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03" imgH="503" progId="TCLayout.ActiveDocument.1">
                  <p:embed/>
                </p:oleObj>
              </mc:Choice>
              <mc:Fallback>
                <p:oleObj name="think-cell Slide" r:id="rId4" imgW="503" imgH="50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0DC63B6-29B1-35F1-BFAF-CEDC15617EB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4233BD3-83E8-2552-6D57-6C58176D10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Process flow diagram for AFTX-201</a:t>
            </a: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E0A5BA61-C6F8-93A1-C635-5DE6502EE0F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0918838" y="18624"/>
            <a:ext cx="1055395" cy="1091998"/>
          </a:xfrm>
          <a:prstGeom prst="rect">
            <a:avLst/>
          </a:prstGeom>
        </p:spPr>
      </p:pic>
      <p:grpSp>
        <p:nvGrpSpPr>
          <p:cNvPr id="38" name="Group 37">
            <a:extLst>
              <a:ext uri="{FF2B5EF4-FFF2-40B4-BE49-F238E27FC236}">
                <a16:creationId xmlns:a16="http://schemas.microsoft.com/office/drawing/2014/main" id="{512F6D34-82F5-6EB3-EC02-BFF41414CD86}"/>
              </a:ext>
            </a:extLst>
          </p:cNvPr>
          <p:cNvGrpSpPr/>
          <p:nvPr/>
        </p:nvGrpSpPr>
        <p:grpSpPr>
          <a:xfrm>
            <a:off x="1428685" y="1103218"/>
            <a:ext cx="9304150" cy="905133"/>
            <a:chOff x="1443925" y="933626"/>
            <a:chExt cx="9304150" cy="905133"/>
          </a:xfrm>
        </p:grpSpPr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531F85FD-E29F-0A79-AE89-EE79D1585CD6}"/>
                </a:ext>
              </a:extLst>
            </p:cNvPr>
            <p:cNvGrpSpPr/>
            <p:nvPr/>
          </p:nvGrpSpPr>
          <p:grpSpPr>
            <a:xfrm>
              <a:off x="1443925" y="933626"/>
              <a:ext cx="9304150" cy="905133"/>
              <a:chOff x="311061" y="1529154"/>
              <a:chExt cx="11286958" cy="1037355"/>
            </a:xfrm>
          </p:grpSpPr>
          <p:pic>
            <p:nvPicPr>
              <p:cNvPr id="41" name="Picture 40">
                <a:extLst>
                  <a:ext uri="{FF2B5EF4-FFF2-40B4-BE49-F238E27FC236}">
                    <a16:creationId xmlns:a16="http://schemas.microsoft.com/office/drawing/2014/main" id="{C331A97C-7FC6-9826-0903-9EA43C91F44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311061" y="1529154"/>
                <a:ext cx="704275" cy="1037355"/>
              </a:xfrm>
              <a:prstGeom prst="rect">
                <a:avLst/>
              </a:prstGeom>
            </p:spPr>
          </p:pic>
          <p:grpSp>
            <p:nvGrpSpPr>
              <p:cNvPr id="42" name="Group 41">
                <a:extLst>
                  <a:ext uri="{FF2B5EF4-FFF2-40B4-BE49-F238E27FC236}">
                    <a16:creationId xmlns:a16="http://schemas.microsoft.com/office/drawing/2014/main" id="{3F03110E-C140-87DD-9E1A-15FD6961BFBD}"/>
                  </a:ext>
                </a:extLst>
              </p:cNvPr>
              <p:cNvGrpSpPr/>
              <p:nvPr/>
            </p:nvGrpSpPr>
            <p:grpSpPr>
              <a:xfrm>
                <a:off x="1769218" y="1709140"/>
                <a:ext cx="749713" cy="728725"/>
                <a:chOff x="7731702" y="1556472"/>
                <a:chExt cx="1743941" cy="1708439"/>
              </a:xfrm>
            </p:grpSpPr>
            <p:pic>
              <p:nvPicPr>
                <p:cNvPr id="56" name="Picture 55" descr="A blue and black circle with arrows&#10;&#10;Description automatically generated">
                  <a:extLst>
                    <a:ext uri="{FF2B5EF4-FFF2-40B4-BE49-F238E27FC236}">
                      <a16:creationId xmlns:a16="http://schemas.microsoft.com/office/drawing/2014/main" id="{60FB49D0-3370-8886-1BED-C00863551D4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8604539" y="1868200"/>
                  <a:ext cx="871104" cy="828675"/>
                </a:xfrm>
                <a:prstGeom prst="rect">
                  <a:avLst/>
                </a:prstGeom>
              </p:spPr>
            </p:pic>
            <p:pic>
              <p:nvPicPr>
                <p:cNvPr id="57" name="Picture 56" descr="A blue and black circle with arrows&#10;&#10;Description automatically generated">
                  <a:extLst>
                    <a:ext uri="{FF2B5EF4-FFF2-40B4-BE49-F238E27FC236}">
                      <a16:creationId xmlns:a16="http://schemas.microsoft.com/office/drawing/2014/main" id="{EFA94858-969D-389D-335E-8C4D7620A9D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7807902" y="1556472"/>
                  <a:ext cx="871104" cy="828675"/>
                </a:xfrm>
                <a:prstGeom prst="rect">
                  <a:avLst/>
                </a:prstGeom>
              </p:spPr>
            </p:pic>
            <p:pic>
              <p:nvPicPr>
                <p:cNvPr id="58" name="Picture 57" descr="A blue and black circle with arrows&#10;&#10;Description automatically generated">
                  <a:extLst>
                    <a:ext uri="{FF2B5EF4-FFF2-40B4-BE49-F238E27FC236}">
                      <a16:creationId xmlns:a16="http://schemas.microsoft.com/office/drawing/2014/main" id="{26901769-AF0A-252C-D5FC-26C51183A3D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7731702" y="2436236"/>
                  <a:ext cx="871104" cy="828675"/>
                </a:xfrm>
                <a:prstGeom prst="rect">
                  <a:avLst/>
                </a:prstGeom>
              </p:spPr>
            </p:pic>
          </p:grpSp>
          <p:pic>
            <p:nvPicPr>
              <p:cNvPr id="43" name="Picture 42">
                <a:extLst>
                  <a:ext uri="{FF2B5EF4-FFF2-40B4-BE49-F238E27FC236}">
                    <a16:creationId xmlns:a16="http://schemas.microsoft.com/office/drawing/2014/main" id="{E1B865B5-4FA5-416F-DC36-3DF3DA31629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3310384" y="1605159"/>
                <a:ext cx="484511" cy="801583"/>
              </a:xfrm>
              <a:prstGeom prst="rect">
                <a:avLst/>
              </a:prstGeom>
            </p:spPr>
          </p:pic>
          <p:pic>
            <p:nvPicPr>
              <p:cNvPr id="44" name="Picture 43" descr="A computer generated illustration of a machine&#10;&#10;Description automatically generated">
                <a:extLst>
                  <a:ext uri="{FF2B5EF4-FFF2-40B4-BE49-F238E27FC236}">
                    <a16:creationId xmlns:a16="http://schemas.microsoft.com/office/drawing/2014/main" id="{50F5BD0D-3B73-732E-AB13-857E9F45BC1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4883250" y="1635075"/>
                <a:ext cx="654959" cy="792391"/>
              </a:xfrm>
              <a:prstGeom prst="rect">
                <a:avLst/>
              </a:prstGeom>
            </p:spPr>
          </p:pic>
          <p:cxnSp>
            <p:nvCxnSpPr>
              <p:cNvPr id="45" name="Straight Arrow Connector 44">
                <a:extLst>
                  <a:ext uri="{FF2B5EF4-FFF2-40B4-BE49-F238E27FC236}">
                    <a16:creationId xmlns:a16="http://schemas.microsoft.com/office/drawing/2014/main" id="{A5461CF1-0B5B-7A78-792B-A8AE6095ECE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62060" y="2104299"/>
                <a:ext cx="517749" cy="10591"/>
              </a:xfrm>
              <a:prstGeom prst="straightConnector1">
                <a:avLst/>
              </a:prstGeom>
              <a:ln w="57150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Arrow Connector 45">
                <a:extLst>
                  <a:ext uri="{FF2B5EF4-FFF2-40B4-BE49-F238E27FC236}">
                    <a16:creationId xmlns:a16="http://schemas.microsoft.com/office/drawing/2014/main" id="{EE74E819-8F62-5E37-A366-1339CF5DF82D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594516" y="2104298"/>
                <a:ext cx="517749" cy="10591"/>
              </a:xfrm>
              <a:prstGeom prst="straightConnector1">
                <a:avLst/>
              </a:prstGeom>
              <a:ln w="57150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Arrow Connector 46">
                <a:extLst>
                  <a:ext uri="{FF2B5EF4-FFF2-40B4-BE49-F238E27FC236}">
                    <a16:creationId xmlns:a16="http://schemas.microsoft.com/office/drawing/2014/main" id="{BD4F6EE2-9D6E-1A8F-A6A0-144AC0CFE379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40625" y="2120774"/>
                <a:ext cx="517749" cy="10591"/>
              </a:xfrm>
              <a:prstGeom prst="straightConnector1">
                <a:avLst/>
              </a:prstGeom>
              <a:ln w="57150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8" name="Picture 47" descr="A close-up of a machine&#10;&#10;Description automatically generated">
                <a:extLst>
                  <a:ext uri="{FF2B5EF4-FFF2-40B4-BE49-F238E27FC236}">
                    <a16:creationId xmlns:a16="http://schemas.microsoft.com/office/drawing/2014/main" id="{B7748EAC-705E-0A51-8126-A75426045A3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6096000" y="1607366"/>
                <a:ext cx="1085585" cy="866897"/>
              </a:xfrm>
              <a:prstGeom prst="rect">
                <a:avLst/>
              </a:prstGeom>
            </p:spPr>
          </p:pic>
          <p:pic>
            <p:nvPicPr>
              <p:cNvPr id="49" name="Picture 48" descr="A close-up of a metal object&#10;&#10;Description automatically generated">
                <a:extLst>
                  <a:ext uri="{FF2B5EF4-FFF2-40B4-BE49-F238E27FC236}">
                    <a16:creationId xmlns:a16="http://schemas.microsoft.com/office/drawing/2014/main" id="{7D9522FE-3C93-7138-56A2-2BD57C0F565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7897905" y="1694110"/>
                <a:ext cx="396079" cy="740757"/>
              </a:xfrm>
              <a:prstGeom prst="rect">
                <a:avLst/>
              </a:prstGeom>
            </p:spPr>
          </p:pic>
          <p:pic>
            <p:nvPicPr>
              <p:cNvPr id="50" name="Picture 49" descr="A white machine with a round top&#10;&#10;Description automatically generated">
                <a:extLst>
                  <a:ext uri="{FF2B5EF4-FFF2-40B4-BE49-F238E27FC236}">
                    <a16:creationId xmlns:a16="http://schemas.microsoft.com/office/drawing/2014/main" id="{553AC4CA-3F33-39BD-6236-AC7DCDE2D09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9369512" y="1537638"/>
                <a:ext cx="747940" cy="936625"/>
              </a:xfrm>
              <a:prstGeom prst="rect">
                <a:avLst/>
              </a:prstGeom>
            </p:spPr>
          </p:pic>
          <p:cxnSp>
            <p:nvCxnSpPr>
              <p:cNvPr id="51" name="Straight Arrow Connector 50">
                <a:extLst>
                  <a:ext uri="{FF2B5EF4-FFF2-40B4-BE49-F238E27FC236}">
                    <a16:creationId xmlns:a16="http://schemas.microsoft.com/office/drawing/2014/main" id="{B0728C88-918F-342C-2ABF-6BA2399F9DA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210004" y="2152072"/>
                <a:ext cx="517749" cy="10591"/>
              </a:xfrm>
              <a:prstGeom prst="straightConnector1">
                <a:avLst/>
              </a:prstGeom>
              <a:ln w="57150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Arrow Connector 51">
                <a:extLst>
                  <a:ext uri="{FF2B5EF4-FFF2-40B4-BE49-F238E27FC236}">
                    <a16:creationId xmlns:a16="http://schemas.microsoft.com/office/drawing/2014/main" id="{C203F3C0-EF1D-5889-0D56-1657247554A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652079" y="2129146"/>
                <a:ext cx="563236" cy="10591"/>
              </a:xfrm>
              <a:prstGeom prst="straightConnector1">
                <a:avLst/>
              </a:prstGeom>
              <a:ln w="57150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Arrow Connector 52">
                <a:extLst>
                  <a:ext uri="{FF2B5EF4-FFF2-40B4-BE49-F238E27FC236}">
                    <a16:creationId xmlns:a16="http://schemas.microsoft.com/office/drawing/2014/main" id="{96359728-DE2C-9297-B36C-6763D57CC0A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475547" y="2129146"/>
                <a:ext cx="517749" cy="10591"/>
              </a:xfrm>
              <a:prstGeom prst="straightConnector1">
                <a:avLst/>
              </a:prstGeom>
              <a:ln w="57150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54" name="Picture 53" descr="A close-up of a metal object&#10;&#10;Description automatically generated">
                <a:extLst>
                  <a:ext uri="{FF2B5EF4-FFF2-40B4-BE49-F238E27FC236}">
                    <a16:creationId xmlns:a16="http://schemas.microsoft.com/office/drawing/2014/main" id="{602E105D-3C01-5CE9-5C9C-D8D2D0F4625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11201940" y="1673546"/>
                <a:ext cx="396079" cy="740757"/>
              </a:xfrm>
              <a:prstGeom prst="rect">
                <a:avLst/>
              </a:prstGeom>
            </p:spPr>
          </p:pic>
          <p:cxnSp>
            <p:nvCxnSpPr>
              <p:cNvPr id="55" name="Straight Arrow Connector 54">
                <a:extLst>
                  <a:ext uri="{FF2B5EF4-FFF2-40B4-BE49-F238E27FC236}">
                    <a16:creationId xmlns:a16="http://schemas.microsoft.com/office/drawing/2014/main" id="{69820F57-BF25-A147-0F36-C4E77EBD38F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611210" y="2179991"/>
                <a:ext cx="517749" cy="10591"/>
              </a:xfrm>
              <a:prstGeom prst="straightConnector1">
                <a:avLst/>
              </a:prstGeom>
              <a:ln w="57150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FEF60790-C65C-20E1-0F37-B741B5CDE6B2}"/>
                </a:ext>
              </a:extLst>
            </p:cNvPr>
            <p:cNvSpPr/>
            <p:nvPr/>
          </p:nvSpPr>
          <p:spPr>
            <a:xfrm>
              <a:off x="2599228" y="996040"/>
              <a:ext cx="681718" cy="820370"/>
            </a:xfrm>
            <a:prstGeom prst="rect">
              <a:avLst/>
            </a:pr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59" name="Rectangle: Rounded Corners 58">
            <a:extLst>
              <a:ext uri="{FF2B5EF4-FFF2-40B4-BE49-F238E27FC236}">
                <a16:creationId xmlns:a16="http://schemas.microsoft.com/office/drawing/2014/main" id="{07FBF236-81F8-73A2-289B-D907B3868983}"/>
              </a:ext>
            </a:extLst>
          </p:cNvPr>
          <p:cNvSpPr/>
          <p:nvPr/>
        </p:nvSpPr>
        <p:spPr>
          <a:xfrm>
            <a:off x="2263877" y="2337594"/>
            <a:ext cx="2926414" cy="1692794"/>
          </a:xfrm>
          <a:prstGeom prst="round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Rectangle: Rounded Corners 59">
            <a:extLst>
              <a:ext uri="{FF2B5EF4-FFF2-40B4-BE49-F238E27FC236}">
                <a16:creationId xmlns:a16="http://schemas.microsoft.com/office/drawing/2014/main" id="{E1FE40E4-686D-D0E6-49AD-0AB26103AAAB}"/>
              </a:ext>
            </a:extLst>
          </p:cNvPr>
          <p:cNvSpPr/>
          <p:nvPr/>
        </p:nvSpPr>
        <p:spPr>
          <a:xfrm>
            <a:off x="2260670" y="4341070"/>
            <a:ext cx="2980448" cy="1741577"/>
          </a:xfrm>
          <a:prstGeom prst="roundRect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1" name="Rectangle: Rounded Corners 60">
            <a:extLst>
              <a:ext uri="{FF2B5EF4-FFF2-40B4-BE49-F238E27FC236}">
                <a16:creationId xmlns:a16="http://schemas.microsoft.com/office/drawing/2014/main" id="{CED5BEB0-4DCF-9E85-13E2-0B762AF66CC7}"/>
              </a:ext>
            </a:extLst>
          </p:cNvPr>
          <p:cNvSpPr/>
          <p:nvPr/>
        </p:nvSpPr>
        <p:spPr>
          <a:xfrm>
            <a:off x="6585231" y="2331448"/>
            <a:ext cx="2980448" cy="1692794"/>
          </a:xfrm>
          <a:prstGeom prst="round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2" name="Rectangle: Rounded Corners 61">
            <a:extLst>
              <a:ext uri="{FF2B5EF4-FFF2-40B4-BE49-F238E27FC236}">
                <a16:creationId xmlns:a16="http://schemas.microsoft.com/office/drawing/2014/main" id="{D54A941C-8EC5-3BF6-DD5F-8F84D18D7024}"/>
              </a:ext>
            </a:extLst>
          </p:cNvPr>
          <p:cNvSpPr/>
          <p:nvPr/>
        </p:nvSpPr>
        <p:spPr>
          <a:xfrm>
            <a:off x="6585231" y="4341070"/>
            <a:ext cx="2980448" cy="1692794"/>
          </a:xfrm>
          <a:prstGeom prst="roundRect">
            <a:avLst/>
          </a:prstGeom>
          <a:noFill/>
          <a:ln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8B80A906-6B94-0C89-0212-3AC9530B32D2}"/>
              </a:ext>
            </a:extLst>
          </p:cNvPr>
          <p:cNvSpPr/>
          <p:nvPr/>
        </p:nvSpPr>
        <p:spPr>
          <a:xfrm>
            <a:off x="3750894" y="1165631"/>
            <a:ext cx="681718" cy="817242"/>
          </a:xfrm>
          <a:prstGeom prst="rect">
            <a:avLst/>
          </a:prstGeom>
          <a:noFill/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F0B9A793-363F-4BA2-9231-893F4AA1EAA6}"/>
              </a:ext>
            </a:extLst>
          </p:cNvPr>
          <p:cNvSpPr/>
          <p:nvPr/>
        </p:nvSpPr>
        <p:spPr>
          <a:xfrm>
            <a:off x="6319850" y="1160055"/>
            <a:ext cx="714592" cy="817242"/>
          </a:xfrm>
          <a:prstGeom prst="rect">
            <a:avLst/>
          </a:prstGeom>
          <a:noFill/>
          <a:ln w="38100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68392E8E-61F4-8329-9455-2B3AFBEC2548}"/>
              </a:ext>
            </a:extLst>
          </p:cNvPr>
          <p:cNvSpPr/>
          <p:nvPr/>
        </p:nvSpPr>
        <p:spPr>
          <a:xfrm>
            <a:off x="8878067" y="1154000"/>
            <a:ext cx="681718" cy="817242"/>
          </a:xfrm>
          <a:prstGeom prst="rect">
            <a:avLst/>
          </a:prstGeom>
          <a:noFill/>
          <a:ln w="381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FBA7F7D1-F8D9-021D-B90B-A155284F1727}"/>
              </a:ext>
            </a:extLst>
          </p:cNvPr>
          <p:cNvSpPr txBox="1"/>
          <p:nvPr/>
        </p:nvSpPr>
        <p:spPr>
          <a:xfrm>
            <a:off x="2372162" y="2662235"/>
            <a:ext cx="2691580" cy="101566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sz="2000" dirty="0"/>
              <a:t>Utilize </a:t>
            </a:r>
            <a:r>
              <a:rPr lang="en-US" sz="2000" dirty="0" err="1"/>
              <a:t>Affinia's</a:t>
            </a:r>
            <a:r>
              <a:rPr lang="en-US" sz="2000" dirty="0"/>
              <a:t> novel plasmid design to increase yields</a:t>
            </a: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A8D7EBB4-8691-D7F6-22D4-6A9BF2C8A3ED}"/>
              </a:ext>
            </a:extLst>
          </p:cNvPr>
          <p:cNvSpPr txBox="1"/>
          <p:nvPr/>
        </p:nvSpPr>
        <p:spPr>
          <a:xfrm>
            <a:off x="6729665" y="4405507"/>
            <a:ext cx="2691580" cy="15639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/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19B8F413-76F4-8D86-860D-1D3203A63F8C}"/>
              </a:ext>
            </a:extLst>
          </p:cNvPr>
          <p:cNvSpPr txBox="1"/>
          <p:nvPr/>
        </p:nvSpPr>
        <p:spPr>
          <a:xfrm>
            <a:off x="2405104" y="4651126"/>
            <a:ext cx="269158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/>
              <a:t>Explore new depth filters to increase capacity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16A51467-C35A-AEA5-9B66-BC3A7B253E17}"/>
              </a:ext>
            </a:extLst>
          </p:cNvPr>
          <p:cNvSpPr txBox="1"/>
          <p:nvPr/>
        </p:nvSpPr>
        <p:spPr>
          <a:xfrm>
            <a:off x="6585231" y="2708946"/>
            <a:ext cx="297455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/>
              <a:t>Explore multiple Affinity resins to ensure high performance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id="{DB85DF4D-FC7C-1CE0-B81E-36B2E9777EC5}"/>
              </a:ext>
            </a:extLst>
          </p:cNvPr>
          <p:cNvSpPr txBox="1"/>
          <p:nvPr/>
        </p:nvSpPr>
        <p:spPr>
          <a:xfrm>
            <a:off x="6585231" y="4679634"/>
            <a:ext cx="297455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/>
              <a:t>Using </a:t>
            </a:r>
            <a:r>
              <a:rPr lang="en-US" sz="2000" err="1"/>
              <a:t>CsCl</a:t>
            </a:r>
            <a:r>
              <a:rPr lang="en-US" sz="2000"/>
              <a:t> gradient to ensure &gt;90% full capsids</a:t>
            </a:r>
          </a:p>
        </p:txBody>
      </p:sp>
      <p:pic>
        <p:nvPicPr>
          <p:cNvPr id="73" name="Picture 72">
            <a:extLst>
              <a:ext uri="{FF2B5EF4-FFF2-40B4-BE49-F238E27FC236}">
                <a16:creationId xmlns:a16="http://schemas.microsoft.com/office/drawing/2014/main" id="{23C65370-737B-FC1C-34C6-6DDD121A8EE6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0" y="6325826"/>
            <a:ext cx="1634313" cy="210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748238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45175A4-19E8-76D2-C979-7D976F6503F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" name="think-cell data - do not delete" hidden="1">
            <a:extLst>
              <a:ext uri="{FF2B5EF4-FFF2-40B4-BE49-F238E27FC236}">
                <a16:creationId xmlns:a16="http://schemas.microsoft.com/office/drawing/2014/main" id="{71EB767F-4E10-5164-2160-39D1015445F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03" imgH="503" progId="TCLayout.ActiveDocument.1">
                  <p:embed/>
                </p:oleObj>
              </mc:Choice>
              <mc:Fallback>
                <p:oleObj name="think-cell Slide" r:id="rId5" imgW="503" imgH="503" progId="TCLayout.ActiveDocument.1">
                  <p:embed/>
                  <p:pic>
                    <p:nvPicPr>
                      <p:cNvPr id="41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1EB767F-4E10-5164-2160-39D1015445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76123FD8-6855-33FB-5998-A2BA936E3D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Use of Affinia plasmid design led to yields of &gt;3e15 vg/L</a:t>
            </a:r>
          </a:p>
        </p:txBody>
      </p:sp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BAA3B01D-219D-DCD9-E242-7F907C4F3D7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51181991"/>
              </p:ext>
            </p:extLst>
          </p:nvPr>
        </p:nvGraphicFramePr>
        <p:xfrm>
          <a:off x="2954621" y="2252172"/>
          <a:ext cx="8585650" cy="31997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rism 10" r:id="rId7" imgW="6334787" imgH="2360829" progId="Prism10.Document">
                  <p:embed/>
                </p:oleObj>
              </mc:Choice>
              <mc:Fallback>
                <p:oleObj name="Prism 10" r:id="rId7" imgW="6334787" imgH="2360829" progId="Prism10.Document">
                  <p:embed/>
                  <p:pic>
                    <p:nvPicPr>
                      <p:cNvPr id="4" name="Object 3">
                        <a:extLst>
                          <a:ext uri="{FF2B5EF4-FFF2-40B4-BE49-F238E27FC236}">
                            <a16:creationId xmlns:a16="http://schemas.microsoft.com/office/drawing/2014/main" id="{BAA3B01D-219D-DCD9-E242-7F907C4F3D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954621" y="2252172"/>
                        <a:ext cx="8585650" cy="31997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9DCE3C7F-21B9-6204-5CF9-DF5767AF31D9}"/>
              </a:ext>
            </a:extLst>
          </p:cNvPr>
          <p:cNvSpPr txBox="1">
            <a:spLocks/>
          </p:cNvSpPr>
          <p:nvPr/>
        </p:nvSpPr>
        <p:spPr>
          <a:xfrm>
            <a:off x="2337689" y="5581186"/>
            <a:ext cx="7516622" cy="690239"/>
          </a:xfrm>
          <a:prstGeom prst="rect">
            <a:avLst/>
          </a:prstGeom>
        </p:spPr>
        <p:txBody>
          <a:bodyPr vert="horz" lIns="91440" tIns="45720" rIns="91440" bIns="45720" numCol="1" rtlCol="0" anchor="t">
            <a:noAutofit/>
          </a:bodyPr>
          <a:lstStyle>
            <a:lvl1pPr marL="228594" indent="-228594" algn="l" defTabSz="914377" rtl="0" eaLnBrk="1" latinLnBrk="0" hangingPunct="1">
              <a:lnSpc>
                <a:spcPts val="2133"/>
              </a:lnSpc>
              <a:spcBef>
                <a:spcPts val="1000"/>
              </a:spcBef>
              <a:buClr>
                <a:schemeClr val="accent2"/>
              </a:buClr>
              <a:buFont typeface="Wingdings" pitchFamily="2" charset="2"/>
              <a:buChar char="§"/>
              <a:defRPr sz="1667" kern="1200">
                <a:solidFill>
                  <a:srgbClr val="2D39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2D3943"/>
              </a:buClr>
              <a:buFont typeface="System Font Regular"/>
              <a:buChar char="–"/>
              <a:defRPr sz="1667" kern="1200">
                <a:solidFill>
                  <a:srgbClr val="2D39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67" kern="1200">
                <a:solidFill>
                  <a:srgbClr val="2D39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rgbClr val="2D39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33" kern="1200">
                <a:solidFill>
                  <a:srgbClr val="2D39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650" b="1" dirty="0">
                <a:latin typeface="Arial"/>
                <a:cs typeface="Arial"/>
              </a:rPr>
              <a:t>We chose condition with highest yield to move forward since we were utilizing </a:t>
            </a:r>
            <a:r>
              <a:rPr lang="en-US" sz="1650" b="1" dirty="0" err="1">
                <a:latin typeface="Arial"/>
                <a:cs typeface="Arial"/>
              </a:rPr>
              <a:t>CsCl</a:t>
            </a:r>
            <a:r>
              <a:rPr lang="en-US" sz="1650" b="1" dirty="0">
                <a:latin typeface="Arial"/>
                <a:cs typeface="Arial"/>
              </a:rPr>
              <a:t> gradient for polishing</a:t>
            </a: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73F7A604-D4EA-5A2A-4C41-E4C3A374D39A}"/>
              </a:ext>
            </a:extLst>
          </p:cNvPr>
          <p:cNvCxnSpPr>
            <a:cxnSpLocks/>
          </p:cNvCxnSpPr>
          <p:nvPr/>
        </p:nvCxnSpPr>
        <p:spPr>
          <a:xfrm>
            <a:off x="5786724" y="2501766"/>
            <a:ext cx="0" cy="414669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34">
            <a:extLst>
              <a:ext uri="{FF2B5EF4-FFF2-40B4-BE49-F238E27FC236}">
                <a16:creationId xmlns:a16="http://schemas.microsoft.com/office/drawing/2014/main" id="{158CEBD0-E736-EF71-2EE0-F5830183F0CF}"/>
              </a:ext>
            </a:extLst>
          </p:cNvPr>
          <p:cNvCxnSpPr>
            <a:cxnSpLocks/>
          </p:cNvCxnSpPr>
          <p:nvPr/>
        </p:nvCxnSpPr>
        <p:spPr>
          <a:xfrm>
            <a:off x="9947598" y="2523032"/>
            <a:ext cx="0" cy="387971"/>
          </a:xfrm>
          <a:prstGeom prst="straightConnector1">
            <a:avLst/>
          </a:prstGeom>
          <a:ln w="762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4" name="Group 53">
            <a:extLst>
              <a:ext uri="{FF2B5EF4-FFF2-40B4-BE49-F238E27FC236}">
                <a16:creationId xmlns:a16="http://schemas.microsoft.com/office/drawing/2014/main" id="{34375108-63FB-3879-A233-F25BECF78BEC}"/>
              </a:ext>
            </a:extLst>
          </p:cNvPr>
          <p:cNvGrpSpPr/>
          <p:nvPr/>
        </p:nvGrpSpPr>
        <p:grpSpPr>
          <a:xfrm>
            <a:off x="1443925" y="933626"/>
            <a:ext cx="9304150" cy="905133"/>
            <a:chOff x="1443925" y="933626"/>
            <a:chExt cx="9304150" cy="905133"/>
          </a:xfrm>
        </p:grpSpPr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2F7190A7-7504-5B25-BF98-9BA452B14D27}"/>
                </a:ext>
              </a:extLst>
            </p:cNvPr>
            <p:cNvGrpSpPr/>
            <p:nvPr/>
          </p:nvGrpSpPr>
          <p:grpSpPr>
            <a:xfrm>
              <a:off x="1443925" y="933626"/>
              <a:ext cx="9304150" cy="905133"/>
              <a:chOff x="311061" y="1529154"/>
              <a:chExt cx="11286958" cy="1037355"/>
            </a:xfrm>
          </p:grpSpPr>
          <p:pic>
            <p:nvPicPr>
              <p:cNvPr id="57" name="Picture 56">
                <a:extLst>
                  <a:ext uri="{FF2B5EF4-FFF2-40B4-BE49-F238E27FC236}">
                    <a16:creationId xmlns:a16="http://schemas.microsoft.com/office/drawing/2014/main" id="{BC1E83E0-01BF-6E8E-06C8-D0D126D43FD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311061" y="1529154"/>
                <a:ext cx="704275" cy="1037355"/>
              </a:xfrm>
              <a:prstGeom prst="rect">
                <a:avLst/>
              </a:prstGeom>
            </p:spPr>
          </p:pic>
          <p:grpSp>
            <p:nvGrpSpPr>
              <p:cNvPr id="58" name="Group 57">
                <a:extLst>
                  <a:ext uri="{FF2B5EF4-FFF2-40B4-BE49-F238E27FC236}">
                    <a16:creationId xmlns:a16="http://schemas.microsoft.com/office/drawing/2014/main" id="{77B1CD5C-F42E-0A5B-0435-D6D5618C63C4}"/>
                  </a:ext>
                </a:extLst>
              </p:cNvPr>
              <p:cNvGrpSpPr/>
              <p:nvPr/>
            </p:nvGrpSpPr>
            <p:grpSpPr>
              <a:xfrm>
                <a:off x="1769218" y="1709140"/>
                <a:ext cx="749713" cy="728725"/>
                <a:chOff x="7731702" y="1556472"/>
                <a:chExt cx="1743941" cy="1708439"/>
              </a:xfrm>
            </p:grpSpPr>
            <p:pic>
              <p:nvPicPr>
                <p:cNvPr id="72" name="Picture 71" descr="A blue and black circle with arrows&#10;&#10;Description automatically generated">
                  <a:extLst>
                    <a:ext uri="{FF2B5EF4-FFF2-40B4-BE49-F238E27FC236}">
                      <a16:creationId xmlns:a16="http://schemas.microsoft.com/office/drawing/2014/main" id="{675A2E7F-34D0-8F8D-16DD-7862C62B9DD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8604539" y="1868200"/>
                  <a:ext cx="871104" cy="828675"/>
                </a:xfrm>
                <a:prstGeom prst="rect">
                  <a:avLst/>
                </a:prstGeom>
              </p:spPr>
            </p:pic>
            <p:pic>
              <p:nvPicPr>
                <p:cNvPr id="73" name="Picture 72" descr="A blue and black circle with arrows&#10;&#10;Description automatically generated">
                  <a:extLst>
                    <a:ext uri="{FF2B5EF4-FFF2-40B4-BE49-F238E27FC236}">
                      <a16:creationId xmlns:a16="http://schemas.microsoft.com/office/drawing/2014/main" id="{88A5C7B9-978C-BE39-0717-6D73996E0D5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7807902" y="1556472"/>
                  <a:ext cx="871104" cy="828675"/>
                </a:xfrm>
                <a:prstGeom prst="rect">
                  <a:avLst/>
                </a:prstGeom>
              </p:spPr>
            </p:pic>
            <p:pic>
              <p:nvPicPr>
                <p:cNvPr id="74" name="Picture 73" descr="A blue and black circle with arrows&#10;&#10;Description automatically generated">
                  <a:extLst>
                    <a:ext uri="{FF2B5EF4-FFF2-40B4-BE49-F238E27FC236}">
                      <a16:creationId xmlns:a16="http://schemas.microsoft.com/office/drawing/2014/main" id="{A2161C2F-D1B6-5DED-1BD7-27A928A5945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7731702" y="2436236"/>
                  <a:ext cx="871104" cy="828675"/>
                </a:xfrm>
                <a:prstGeom prst="rect">
                  <a:avLst/>
                </a:prstGeom>
              </p:spPr>
            </p:pic>
          </p:grpSp>
          <p:pic>
            <p:nvPicPr>
              <p:cNvPr id="59" name="Picture 58">
                <a:extLst>
                  <a:ext uri="{FF2B5EF4-FFF2-40B4-BE49-F238E27FC236}">
                    <a16:creationId xmlns:a16="http://schemas.microsoft.com/office/drawing/2014/main" id="{12391026-F519-0704-6596-76E4A70D0E4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3310384" y="1605159"/>
                <a:ext cx="484511" cy="801583"/>
              </a:xfrm>
              <a:prstGeom prst="rect">
                <a:avLst/>
              </a:prstGeom>
            </p:spPr>
          </p:pic>
          <p:pic>
            <p:nvPicPr>
              <p:cNvPr id="60" name="Picture 59" descr="A computer generated illustration of a machine&#10;&#10;Description automatically generated">
                <a:extLst>
                  <a:ext uri="{FF2B5EF4-FFF2-40B4-BE49-F238E27FC236}">
                    <a16:creationId xmlns:a16="http://schemas.microsoft.com/office/drawing/2014/main" id="{8343529A-B7EA-8CB8-609A-F6DC916A8D7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4883250" y="1635075"/>
                <a:ext cx="654959" cy="792391"/>
              </a:xfrm>
              <a:prstGeom prst="rect">
                <a:avLst/>
              </a:prstGeom>
            </p:spPr>
          </p:pic>
          <p:cxnSp>
            <p:nvCxnSpPr>
              <p:cNvPr id="61" name="Straight Arrow Connector 60">
                <a:extLst>
                  <a:ext uri="{FF2B5EF4-FFF2-40B4-BE49-F238E27FC236}">
                    <a16:creationId xmlns:a16="http://schemas.microsoft.com/office/drawing/2014/main" id="{30918D31-018B-738B-6282-AE6871C77D6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62060" y="2104299"/>
                <a:ext cx="517749" cy="10591"/>
              </a:xfrm>
              <a:prstGeom prst="straightConnector1">
                <a:avLst/>
              </a:prstGeom>
              <a:ln w="57150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Straight Arrow Connector 61">
                <a:extLst>
                  <a:ext uri="{FF2B5EF4-FFF2-40B4-BE49-F238E27FC236}">
                    <a16:creationId xmlns:a16="http://schemas.microsoft.com/office/drawing/2014/main" id="{CC52575F-0176-4643-2693-B8A6A6569C5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594516" y="2104298"/>
                <a:ext cx="517749" cy="10591"/>
              </a:xfrm>
              <a:prstGeom prst="straightConnector1">
                <a:avLst/>
              </a:prstGeom>
              <a:ln w="57150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3" name="Straight Arrow Connector 62">
                <a:extLst>
                  <a:ext uri="{FF2B5EF4-FFF2-40B4-BE49-F238E27FC236}">
                    <a16:creationId xmlns:a16="http://schemas.microsoft.com/office/drawing/2014/main" id="{CC969E61-4C1A-9A1B-0484-D7740C1802B7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40625" y="2120774"/>
                <a:ext cx="517749" cy="10591"/>
              </a:xfrm>
              <a:prstGeom prst="straightConnector1">
                <a:avLst/>
              </a:prstGeom>
              <a:ln w="57150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64" name="Picture 63" descr="A close-up of a machine&#10;&#10;Description automatically generated">
                <a:extLst>
                  <a:ext uri="{FF2B5EF4-FFF2-40B4-BE49-F238E27FC236}">
                    <a16:creationId xmlns:a16="http://schemas.microsoft.com/office/drawing/2014/main" id="{8892791B-95B1-261F-3F53-9C161AD9467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6096000" y="1607366"/>
                <a:ext cx="1085585" cy="866897"/>
              </a:xfrm>
              <a:prstGeom prst="rect">
                <a:avLst/>
              </a:prstGeom>
            </p:spPr>
          </p:pic>
          <p:pic>
            <p:nvPicPr>
              <p:cNvPr id="65" name="Picture 64" descr="A close-up of a metal object&#10;&#10;Description automatically generated">
                <a:extLst>
                  <a:ext uri="{FF2B5EF4-FFF2-40B4-BE49-F238E27FC236}">
                    <a16:creationId xmlns:a16="http://schemas.microsoft.com/office/drawing/2014/main" id="{45C91310-7782-082B-C865-0F1100A8D85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7897905" y="1694110"/>
                <a:ext cx="396079" cy="740757"/>
              </a:xfrm>
              <a:prstGeom prst="rect">
                <a:avLst/>
              </a:prstGeom>
            </p:spPr>
          </p:pic>
          <p:pic>
            <p:nvPicPr>
              <p:cNvPr id="66" name="Picture 65" descr="A white machine with a round top&#10;&#10;Description automatically generated">
                <a:extLst>
                  <a:ext uri="{FF2B5EF4-FFF2-40B4-BE49-F238E27FC236}">
                    <a16:creationId xmlns:a16="http://schemas.microsoft.com/office/drawing/2014/main" id="{44536619-630D-7D21-AD64-229CE182E7F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9369512" y="1537638"/>
                <a:ext cx="747940" cy="936625"/>
              </a:xfrm>
              <a:prstGeom prst="rect">
                <a:avLst/>
              </a:prstGeom>
            </p:spPr>
          </p:pic>
          <p:cxnSp>
            <p:nvCxnSpPr>
              <p:cNvPr id="67" name="Straight Arrow Connector 66">
                <a:extLst>
                  <a:ext uri="{FF2B5EF4-FFF2-40B4-BE49-F238E27FC236}">
                    <a16:creationId xmlns:a16="http://schemas.microsoft.com/office/drawing/2014/main" id="{C69AC091-2786-5EB8-CC4E-8B45BC3AA9F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210004" y="2152072"/>
                <a:ext cx="517749" cy="10591"/>
              </a:xfrm>
              <a:prstGeom prst="straightConnector1">
                <a:avLst/>
              </a:prstGeom>
              <a:ln w="57150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Arrow Connector 67">
                <a:extLst>
                  <a:ext uri="{FF2B5EF4-FFF2-40B4-BE49-F238E27FC236}">
                    <a16:creationId xmlns:a16="http://schemas.microsoft.com/office/drawing/2014/main" id="{09183B1A-2827-F7E2-EB66-09A03A34B74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652079" y="2129146"/>
                <a:ext cx="563236" cy="10591"/>
              </a:xfrm>
              <a:prstGeom prst="straightConnector1">
                <a:avLst/>
              </a:prstGeom>
              <a:ln w="57150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Arrow Connector 68">
                <a:extLst>
                  <a:ext uri="{FF2B5EF4-FFF2-40B4-BE49-F238E27FC236}">
                    <a16:creationId xmlns:a16="http://schemas.microsoft.com/office/drawing/2014/main" id="{E5F391A1-25DE-567A-4B83-118427AB761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475547" y="2129146"/>
                <a:ext cx="517749" cy="10591"/>
              </a:xfrm>
              <a:prstGeom prst="straightConnector1">
                <a:avLst/>
              </a:prstGeom>
              <a:ln w="57150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70" name="Picture 69" descr="A close-up of a metal object&#10;&#10;Description automatically generated">
                <a:extLst>
                  <a:ext uri="{FF2B5EF4-FFF2-40B4-BE49-F238E27FC236}">
                    <a16:creationId xmlns:a16="http://schemas.microsoft.com/office/drawing/2014/main" id="{E2259BE0-8ADB-9A05-4A4D-B8FE0389722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11201940" y="1673546"/>
                <a:ext cx="396079" cy="740757"/>
              </a:xfrm>
              <a:prstGeom prst="rect">
                <a:avLst/>
              </a:prstGeom>
            </p:spPr>
          </p:pic>
          <p:cxnSp>
            <p:nvCxnSpPr>
              <p:cNvPr id="71" name="Straight Arrow Connector 70">
                <a:extLst>
                  <a:ext uri="{FF2B5EF4-FFF2-40B4-BE49-F238E27FC236}">
                    <a16:creationId xmlns:a16="http://schemas.microsoft.com/office/drawing/2014/main" id="{3401F834-A954-EE90-FC12-15AB43E1711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611210" y="2179991"/>
                <a:ext cx="517749" cy="10591"/>
              </a:xfrm>
              <a:prstGeom prst="straightConnector1">
                <a:avLst/>
              </a:prstGeom>
              <a:ln w="57150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2A7A6A67-BE19-172D-D273-1522BEE501E9}"/>
                </a:ext>
              </a:extLst>
            </p:cNvPr>
            <p:cNvSpPr/>
            <p:nvPr/>
          </p:nvSpPr>
          <p:spPr>
            <a:xfrm>
              <a:off x="2599228" y="1026046"/>
              <a:ext cx="681718" cy="790363"/>
            </a:xfrm>
            <a:prstGeom prst="rect">
              <a:avLst/>
            </a:prstGeom>
            <a:noFill/>
            <a:ln w="3810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pSp>
        <p:nvGrpSpPr>
          <p:cNvPr id="75" name="Group 74">
            <a:extLst>
              <a:ext uri="{FF2B5EF4-FFF2-40B4-BE49-F238E27FC236}">
                <a16:creationId xmlns:a16="http://schemas.microsoft.com/office/drawing/2014/main" id="{93D090E0-9184-6F63-3A34-F4520323006B}"/>
              </a:ext>
            </a:extLst>
          </p:cNvPr>
          <p:cNvGrpSpPr/>
          <p:nvPr/>
        </p:nvGrpSpPr>
        <p:grpSpPr>
          <a:xfrm>
            <a:off x="706812" y="2594881"/>
            <a:ext cx="2054777" cy="2121709"/>
            <a:chOff x="637977" y="1582310"/>
            <a:chExt cx="2775727" cy="2845280"/>
          </a:xfrm>
        </p:grpSpPr>
        <p:pic>
          <p:nvPicPr>
            <p:cNvPr id="76" name="Picture 75" descr="A group of circular arrows&#10;&#10;Description automatically generated">
              <a:extLst>
                <a:ext uri="{FF2B5EF4-FFF2-40B4-BE49-F238E27FC236}">
                  <a16:creationId xmlns:a16="http://schemas.microsoft.com/office/drawing/2014/main" id="{9E42CCDA-602A-B1B7-EAFE-FCC9DF31773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47423" y="1582310"/>
              <a:ext cx="2666281" cy="2845280"/>
            </a:xfrm>
            <a:prstGeom prst="rect">
              <a:avLst/>
            </a:prstGeom>
          </p:spPr>
        </p:pic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EDAF8260-36E0-700F-4E1A-C10864D5F7C3}"/>
                </a:ext>
              </a:extLst>
            </p:cNvPr>
            <p:cNvSpPr txBox="1"/>
            <p:nvPr/>
          </p:nvSpPr>
          <p:spPr>
            <a:xfrm>
              <a:off x="637977" y="2453517"/>
              <a:ext cx="2743200" cy="701655"/>
            </a:xfrm>
            <a:prstGeom prst="rect">
              <a:avLst/>
            </a:prstGeom>
            <a:noFill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/>
            <a:p>
              <a:pPr algn="ctr"/>
              <a:r>
                <a:rPr lang="en-US" sz="1400">
                  <a:cs typeface="Arial"/>
                </a:rPr>
                <a:t>Affinia</a:t>
              </a:r>
            </a:p>
            <a:p>
              <a:pPr algn="ctr"/>
              <a:r>
                <a:rPr lang="en-US" sz="1400">
                  <a:cs typeface="Arial"/>
                </a:rPr>
                <a:t>plasmid design</a:t>
              </a:r>
              <a:endParaRPr lang="en-US" sz="1400"/>
            </a:p>
          </p:txBody>
        </p:sp>
      </p:grpSp>
      <p:pic>
        <p:nvPicPr>
          <p:cNvPr id="3" name="Picture 2">
            <a:extLst>
              <a:ext uri="{FF2B5EF4-FFF2-40B4-BE49-F238E27FC236}">
                <a16:creationId xmlns:a16="http://schemas.microsoft.com/office/drawing/2014/main" id="{C76D7369-279C-B20F-3E3E-4C7EACC9F84E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1118968" y="18623"/>
            <a:ext cx="1036113" cy="107204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46DD393A-E0FD-01E9-0BBC-FDA7CCC24875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0" y="6325826"/>
            <a:ext cx="1634313" cy="21065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C10AC1A3-7583-273A-DA36-8CDEE29D4796}"/>
              </a:ext>
            </a:extLst>
          </p:cNvPr>
          <p:cNvSpPr/>
          <p:nvPr/>
        </p:nvSpPr>
        <p:spPr>
          <a:xfrm>
            <a:off x="4752975" y="4876800"/>
            <a:ext cx="1876425" cy="4000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>
                <a:solidFill>
                  <a:srgbClr val="000000"/>
                </a:solidFill>
                <a:cs typeface="Arial"/>
              </a:rPr>
              <a:t>Conditio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7244F80-8F59-5847-7A5E-B00BC94D879E}"/>
              </a:ext>
            </a:extLst>
          </p:cNvPr>
          <p:cNvSpPr/>
          <p:nvPr/>
        </p:nvSpPr>
        <p:spPr>
          <a:xfrm>
            <a:off x="8839199" y="4905375"/>
            <a:ext cx="1876425" cy="4000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>
                <a:solidFill>
                  <a:srgbClr val="000000"/>
                </a:solidFill>
                <a:cs typeface="Arial"/>
              </a:rPr>
              <a:t>Condi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4D4B0ED-4217-C692-F946-CFF79B3CF3C2}"/>
              </a:ext>
            </a:extLst>
          </p:cNvPr>
          <p:cNvSpPr/>
          <p:nvPr/>
        </p:nvSpPr>
        <p:spPr>
          <a:xfrm rot="16200000">
            <a:off x="6923006" y="3652004"/>
            <a:ext cx="1876425" cy="4000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400" b="1" dirty="0">
                <a:solidFill>
                  <a:srgbClr val="000000"/>
                </a:solidFill>
                <a:cs typeface="Arial"/>
              </a:rPr>
              <a:t>% full capsids</a:t>
            </a:r>
          </a:p>
        </p:txBody>
      </p:sp>
    </p:spTree>
    <p:extLst>
      <p:ext uri="{BB962C8B-B14F-4D97-AF65-F5344CB8AC3E}">
        <p14:creationId xmlns:p14="http://schemas.microsoft.com/office/powerpoint/2010/main" val="2840292460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4"/>
    </p:ext>
  </p:extLs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64EC0CC9-6CE4-7FF3-9B28-5E04779ADA8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27640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03" imgH="503" progId="TCLayout.ActiveDocument.1">
                  <p:embed/>
                </p:oleObj>
              </mc:Choice>
              <mc:Fallback>
                <p:oleObj name="think-cell Slide" r:id="rId4" imgW="503" imgH="503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4EC0CC9-6CE4-7FF3-9B28-5E04779ADA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31AAE4C-6218-85C9-39E7-235A24FE98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8064" y="291251"/>
            <a:ext cx="11472672" cy="534968"/>
          </a:xfrm>
        </p:spPr>
        <p:txBody>
          <a:bodyPr vert="horz"/>
          <a:lstStyle/>
          <a:p>
            <a:r>
              <a:rPr lang="en-US"/>
              <a:t>Harvest RC filters were optimal process choic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C6030CB-9A6B-28C9-00C4-4E4221E4A8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64500" y="5622060"/>
            <a:ext cx="7806754" cy="684289"/>
          </a:xfrm>
        </p:spPr>
        <p:txBody>
          <a:bodyPr numCol="2"/>
          <a:lstStyle/>
          <a:p>
            <a:pPr lvl="1"/>
            <a:r>
              <a:rPr lang="en-US"/>
              <a:t>Higher loading capacity</a:t>
            </a:r>
          </a:p>
          <a:p>
            <a:pPr lvl="1"/>
            <a:r>
              <a:rPr lang="en-US"/>
              <a:t>Cheaper at scale</a:t>
            </a:r>
          </a:p>
          <a:p>
            <a:pPr lvl="1"/>
            <a:r>
              <a:rPr lang="en-US"/>
              <a:t>Reduced HCP and </a:t>
            </a:r>
            <a:r>
              <a:rPr lang="en-US" err="1"/>
              <a:t>hcDNA</a:t>
            </a:r>
            <a:r>
              <a:rPr lang="en-US"/>
              <a:t> level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BE008460-9762-CFE9-2E8D-DC8676C0E450}"/>
              </a:ext>
            </a:extLst>
          </p:cNvPr>
          <p:cNvSpPr txBox="1">
            <a:spLocks/>
          </p:cNvSpPr>
          <p:nvPr/>
        </p:nvSpPr>
        <p:spPr>
          <a:xfrm>
            <a:off x="3296096" y="5269216"/>
            <a:ext cx="5543561" cy="404029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594" indent="-228594" algn="l" defTabSz="914377" rtl="0" eaLnBrk="1" latinLnBrk="0" hangingPunct="1">
              <a:lnSpc>
                <a:spcPts val="2133"/>
              </a:lnSpc>
              <a:spcBef>
                <a:spcPts val="1000"/>
              </a:spcBef>
              <a:buClr>
                <a:schemeClr val="accent2"/>
              </a:buClr>
              <a:buFont typeface="Wingdings" pitchFamily="2" charset="2"/>
              <a:buChar char="§"/>
              <a:defRPr sz="1667" kern="1200">
                <a:solidFill>
                  <a:srgbClr val="2D39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2D3943"/>
              </a:buClr>
              <a:buFont typeface="System Font Regular"/>
              <a:buChar char="–"/>
              <a:defRPr sz="1667" kern="1200">
                <a:solidFill>
                  <a:srgbClr val="2D39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67" kern="1200">
                <a:solidFill>
                  <a:srgbClr val="2D39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rgbClr val="2D39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33" kern="1200">
                <a:solidFill>
                  <a:srgbClr val="2D39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" pitchFamily="2" charset="2"/>
              <a:buNone/>
            </a:pPr>
            <a:r>
              <a:rPr lang="en-US" b="1" u="sng"/>
              <a:t>Harvest RC filter better choice than Millipore DF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3D059CF1-B137-D741-8001-5F43E13B2D6C}"/>
              </a:ext>
            </a:extLst>
          </p:cNvPr>
          <p:cNvGrpSpPr/>
          <p:nvPr/>
        </p:nvGrpSpPr>
        <p:grpSpPr>
          <a:xfrm>
            <a:off x="398350" y="3885565"/>
            <a:ext cx="3044964" cy="1079437"/>
            <a:chOff x="843631" y="3130703"/>
            <a:chExt cx="3044964" cy="1079437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794E2F44-85CD-3CC6-D130-BB7A65647425}"/>
                </a:ext>
              </a:extLst>
            </p:cNvPr>
            <p:cNvGrpSpPr/>
            <p:nvPr/>
          </p:nvGrpSpPr>
          <p:grpSpPr>
            <a:xfrm>
              <a:off x="843631" y="3371302"/>
              <a:ext cx="3044964" cy="838838"/>
              <a:chOff x="785467" y="1976844"/>
              <a:chExt cx="4061346" cy="997707"/>
            </a:xfrm>
          </p:grpSpPr>
          <p:pic>
            <p:nvPicPr>
              <p:cNvPr id="18" name="Picture 17">
                <a:extLst>
                  <a:ext uri="{FF2B5EF4-FFF2-40B4-BE49-F238E27FC236}">
                    <a16:creationId xmlns:a16="http://schemas.microsoft.com/office/drawing/2014/main" id="{B66FEA07-2237-5F9E-231F-177A0B6AEF8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rcRect t="22720"/>
              <a:stretch/>
            </p:blipFill>
            <p:spPr>
              <a:xfrm>
                <a:off x="2237082" y="2174859"/>
                <a:ext cx="1325421" cy="771027"/>
              </a:xfrm>
              <a:prstGeom prst="rect">
                <a:avLst/>
              </a:prstGeom>
            </p:spPr>
          </p:pic>
          <p:pic>
            <p:nvPicPr>
              <p:cNvPr id="8" name="Picture 7">
                <a:extLst>
                  <a:ext uri="{FF2B5EF4-FFF2-40B4-BE49-F238E27FC236}">
                    <a16:creationId xmlns:a16="http://schemas.microsoft.com/office/drawing/2014/main" id="{C9A4BE66-550B-FA57-0114-C6D0A0003AFC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l="34364" t="24907" r="28110" b="23893"/>
              <a:stretch/>
            </p:blipFill>
            <p:spPr>
              <a:xfrm rot="5400000">
                <a:off x="3915480" y="1957213"/>
                <a:ext cx="713687" cy="1148979"/>
              </a:xfrm>
              <a:prstGeom prst="rect">
                <a:avLst/>
              </a:prstGeom>
            </p:spPr>
          </p:pic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D3D823CB-EF3F-F08F-171E-87E6BAED82C4}"/>
                  </a:ext>
                </a:extLst>
              </p:cNvPr>
              <p:cNvSpPr txBox="1"/>
              <p:nvPr/>
            </p:nvSpPr>
            <p:spPr>
              <a:xfrm>
                <a:off x="3395948" y="2244867"/>
                <a:ext cx="352213" cy="54910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/>
                  <a:t>+</a:t>
                </a:r>
              </a:p>
            </p:txBody>
          </p:sp>
          <p:pic>
            <p:nvPicPr>
              <p:cNvPr id="4" name="Picture 3">
                <a:extLst>
                  <a:ext uri="{FF2B5EF4-FFF2-40B4-BE49-F238E27FC236}">
                    <a16:creationId xmlns:a16="http://schemas.microsoft.com/office/drawing/2014/main" id="{FB02D6A7-1E2F-21A5-8009-1F821B44346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785467" y="1976844"/>
                <a:ext cx="1325421" cy="997707"/>
              </a:xfrm>
              <a:prstGeom prst="rect">
                <a:avLst/>
              </a:prstGeom>
            </p:spPr>
          </p:pic>
          <p:sp>
            <p:nvSpPr>
              <p:cNvPr id="5" name="TextBox 4">
                <a:extLst>
                  <a:ext uri="{FF2B5EF4-FFF2-40B4-BE49-F238E27FC236}">
                    <a16:creationId xmlns:a16="http://schemas.microsoft.com/office/drawing/2014/main" id="{E2388EDF-1FB5-B158-9E6D-CB8EFE127651}"/>
                  </a:ext>
                </a:extLst>
              </p:cNvPr>
              <p:cNvSpPr txBox="1"/>
              <p:nvPr/>
            </p:nvSpPr>
            <p:spPr>
              <a:xfrm>
                <a:off x="2046081" y="2244866"/>
                <a:ext cx="352213" cy="54910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/>
                  <a:t>+</a:t>
                </a:r>
              </a:p>
            </p:txBody>
          </p:sp>
        </p:grp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7EEB87EA-6006-A7A2-C674-294A65A83223}"/>
                </a:ext>
              </a:extLst>
            </p:cNvPr>
            <p:cNvSpPr txBox="1"/>
            <p:nvPr/>
          </p:nvSpPr>
          <p:spPr>
            <a:xfrm>
              <a:off x="1498607" y="3130703"/>
              <a:ext cx="203453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/>
                <a:t>Millipore plus STIC</a:t>
              </a: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D015ED36-86F8-E5BF-A203-58A6E3DD1803}"/>
              </a:ext>
            </a:extLst>
          </p:cNvPr>
          <p:cNvGrpSpPr/>
          <p:nvPr/>
        </p:nvGrpSpPr>
        <p:grpSpPr>
          <a:xfrm>
            <a:off x="802755" y="2288618"/>
            <a:ext cx="2404026" cy="1162525"/>
            <a:chOff x="1258521" y="1267089"/>
            <a:chExt cx="2404026" cy="1162525"/>
          </a:xfrm>
        </p:grpSpPr>
        <p:grpSp>
          <p:nvGrpSpPr>
            <p:cNvPr id="7" name="Group 6">
              <a:extLst>
                <a:ext uri="{FF2B5EF4-FFF2-40B4-BE49-F238E27FC236}">
                  <a16:creationId xmlns:a16="http://schemas.microsoft.com/office/drawing/2014/main" id="{BC3BCCEE-0C1C-674C-00F8-3DF91460BB1B}"/>
                </a:ext>
              </a:extLst>
            </p:cNvPr>
            <p:cNvGrpSpPr/>
            <p:nvPr/>
          </p:nvGrpSpPr>
          <p:grpSpPr>
            <a:xfrm>
              <a:off x="1258521" y="1578858"/>
              <a:ext cx="2081531" cy="850756"/>
              <a:chOff x="2298090" y="4466448"/>
              <a:chExt cx="2552915" cy="1110283"/>
            </a:xfrm>
          </p:grpSpPr>
          <p:pic>
            <p:nvPicPr>
              <p:cNvPr id="19" name="Picture 2">
                <a:extLst>
                  <a:ext uri="{FF2B5EF4-FFF2-40B4-BE49-F238E27FC236}">
                    <a16:creationId xmlns:a16="http://schemas.microsoft.com/office/drawing/2014/main" id="{6BE2F3EF-0A30-5EF2-6236-908AE3A332B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298090" y="4466448"/>
                <a:ext cx="1203404" cy="1110283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1" name="Picture 10">
                <a:extLst>
                  <a:ext uri="{FF2B5EF4-FFF2-40B4-BE49-F238E27FC236}">
                    <a16:creationId xmlns:a16="http://schemas.microsoft.com/office/drawing/2014/main" id="{F328317A-ABB9-EE8A-6889-A436C351FA74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l="34364" t="24907" r="28110" b="23893"/>
              <a:stretch/>
            </p:blipFill>
            <p:spPr>
              <a:xfrm rot="5400000">
                <a:off x="3919672" y="4494106"/>
                <a:ext cx="713687" cy="1148979"/>
              </a:xfrm>
              <a:prstGeom prst="rect">
                <a:avLst/>
              </a:prstGeom>
            </p:spPr>
          </p:pic>
          <p:sp>
            <p:nvSpPr>
              <p:cNvPr id="12" name="TextBox 11">
                <a:extLst>
                  <a:ext uri="{FF2B5EF4-FFF2-40B4-BE49-F238E27FC236}">
                    <a16:creationId xmlns:a16="http://schemas.microsoft.com/office/drawing/2014/main" id="{8B46915B-CEB3-124D-F1FC-7107FFF1B11D}"/>
                  </a:ext>
                </a:extLst>
              </p:cNvPr>
              <p:cNvSpPr txBox="1"/>
              <p:nvPr/>
            </p:nvSpPr>
            <p:spPr>
              <a:xfrm>
                <a:off x="3392102" y="4781760"/>
                <a:ext cx="352212" cy="6024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/>
                  <a:t>+</a:t>
                </a:r>
              </a:p>
            </p:txBody>
          </p:sp>
        </p:grp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7E4E4B9D-442A-E312-9898-908CBFE3330D}"/>
                </a:ext>
              </a:extLst>
            </p:cNvPr>
            <p:cNvSpPr txBox="1"/>
            <p:nvPr/>
          </p:nvSpPr>
          <p:spPr>
            <a:xfrm>
              <a:off x="1369932" y="1267089"/>
              <a:ext cx="229261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 b="1"/>
                <a:t>Harvest RC plus STIC</a:t>
              </a:r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1AA22386-5A29-9E61-208F-847BC3DF205D}"/>
              </a:ext>
            </a:extLst>
          </p:cNvPr>
          <p:cNvSpPr txBox="1"/>
          <p:nvPr/>
        </p:nvSpPr>
        <p:spPr>
          <a:xfrm>
            <a:off x="5010737" y="2321874"/>
            <a:ext cx="190097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/>
              <a:t>HCP Breakthrough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C17DA18-CB5D-D452-A6ED-9ACCD224A0DF}"/>
              </a:ext>
            </a:extLst>
          </p:cNvPr>
          <p:cNvSpPr txBox="1"/>
          <p:nvPr/>
        </p:nvSpPr>
        <p:spPr>
          <a:xfrm>
            <a:off x="8851735" y="2261833"/>
            <a:ext cx="2109745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err="1"/>
              <a:t>hcDNA</a:t>
            </a:r>
            <a:r>
              <a:rPr lang="en-US" sz="1600"/>
              <a:t> Breakthrough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30A22D2-A2D4-A73C-283E-E65A0DC0BD70}"/>
              </a:ext>
            </a:extLst>
          </p:cNvPr>
          <p:cNvSpPr txBox="1"/>
          <p:nvPr/>
        </p:nvSpPr>
        <p:spPr>
          <a:xfrm>
            <a:off x="8182724" y="5021392"/>
            <a:ext cx="329128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/>
              <a:t>Note: Millipore filter was stopped due to rising pressure</a:t>
            </a:r>
          </a:p>
        </p:txBody>
      </p:sp>
      <p:grpSp>
        <p:nvGrpSpPr>
          <p:cNvPr id="49" name="Group 48">
            <a:extLst>
              <a:ext uri="{FF2B5EF4-FFF2-40B4-BE49-F238E27FC236}">
                <a16:creationId xmlns:a16="http://schemas.microsoft.com/office/drawing/2014/main" id="{DD9B88A2-B9D0-1534-FF32-A4896D1680E6}"/>
              </a:ext>
            </a:extLst>
          </p:cNvPr>
          <p:cNvGrpSpPr/>
          <p:nvPr/>
        </p:nvGrpSpPr>
        <p:grpSpPr>
          <a:xfrm>
            <a:off x="1443925" y="933626"/>
            <a:ext cx="9304150" cy="905133"/>
            <a:chOff x="1443925" y="933626"/>
            <a:chExt cx="9304150" cy="905133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2DFC4811-0C37-FE21-0823-86DB9A5E68B9}"/>
                </a:ext>
              </a:extLst>
            </p:cNvPr>
            <p:cNvGrpSpPr/>
            <p:nvPr/>
          </p:nvGrpSpPr>
          <p:grpSpPr>
            <a:xfrm>
              <a:off x="1443925" y="933626"/>
              <a:ext cx="9304150" cy="905133"/>
              <a:chOff x="311061" y="1529154"/>
              <a:chExt cx="11286958" cy="1037355"/>
            </a:xfrm>
          </p:grpSpPr>
          <p:pic>
            <p:nvPicPr>
              <p:cNvPr id="30" name="Picture 29">
                <a:extLst>
                  <a:ext uri="{FF2B5EF4-FFF2-40B4-BE49-F238E27FC236}">
                    <a16:creationId xmlns:a16="http://schemas.microsoft.com/office/drawing/2014/main" id="{B2BF8CC4-26D1-0513-E182-6FFC9BEACC8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311061" y="1529154"/>
                <a:ext cx="704275" cy="1037355"/>
              </a:xfrm>
              <a:prstGeom prst="rect">
                <a:avLst/>
              </a:prstGeom>
            </p:spPr>
          </p:pic>
          <p:grpSp>
            <p:nvGrpSpPr>
              <p:cNvPr id="31" name="Group 30">
                <a:extLst>
                  <a:ext uri="{FF2B5EF4-FFF2-40B4-BE49-F238E27FC236}">
                    <a16:creationId xmlns:a16="http://schemas.microsoft.com/office/drawing/2014/main" id="{87EE98BF-B685-89F1-3D07-D294449DB4C5}"/>
                  </a:ext>
                </a:extLst>
              </p:cNvPr>
              <p:cNvGrpSpPr/>
              <p:nvPr/>
            </p:nvGrpSpPr>
            <p:grpSpPr>
              <a:xfrm>
                <a:off x="1769218" y="1709140"/>
                <a:ext cx="749713" cy="728725"/>
                <a:chOff x="7731702" y="1556472"/>
                <a:chExt cx="1743941" cy="1708439"/>
              </a:xfrm>
            </p:grpSpPr>
            <p:pic>
              <p:nvPicPr>
                <p:cNvPr id="45" name="Picture 44" descr="A blue and black circle with arrows&#10;&#10;Description automatically generated">
                  <a:extLst>
                    <a:ext uri="{FF2B5EF4-FFF2-40B4-BE49-F238E27FC236}">
                      <a16:creationId xmlns:a16="http://schemas.microsoft.com/office/drawing/2014/main" id="{1765EDE6-70BB-A70C-1C64-9F502E1BEE5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8604539" y="1868200"/>
                  <a:ext cx="871104" cy="828675"/>
                </a:xfrm>
                <a:prstGeom prst="rect">
                  <a:avLst/>
                </a:prstGeom>
              </p:spPr>
            </p:pic>
            <p:pic>
              <p:nvPicPr>
                <p:cNvPr id="46" name="Picture 45" descr="A blue and black circle with arrows&#10;&#10;Description automatically generated">
                  <a:extLst>
                    <a:ext uri="{FF2B5EF4-FFF2-40B4-BE49-F238E27FC236}">
                      <a16:creationId xmlns:a16="http://schemas.microsoft.com/office/drawing/2014/main" id="{65C56798-BC41-43DF-CC28-F8BEE2483EE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7807902" y="1556472"/>
                  <a:ext cx="871104" cy="828675"/>
                </a:xfrm>
                <a:prstGeom prst="rect">
                  <a:avLst/>
                </a:prstGeom>
              </p:spPr>
            </p:pic>
            <p:pic>
              <p:nvPicPr>
                <p:cNvPr id="47" name="Picture 46" descr="A blue and black circle with arrows&#10;&#10;Description automatically generated">
                  <a:extLst>
                    <a:ext uri="{FF2B5EF4-FFF2-40B4-BE49-F238E27FC236}">
                      <a16:creationId xmlns:a16="http://schemas.microsoft.com/office/drawing/2014/main" id="{5321A686-09D3-C01D-D447-8F35CC00792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0"/>
                <a:stretch>
                  <a:fillRect/>
                </a:stretch>
              </p:blipFill>
              <p:spPr>
                <a:xfrm>
                  <a:off x="7731702" y="2436236"/>
                  <a:ext cx="871104" cy="828675"/>
                </a:xfrm>
                <a:prstGeom prst="rect">
                  <a:avLst/>
                </a:prstGeom>
              </p:spPr>
            </p:pic>
          </p:grpSp>
          <p:pic>
            <p:nvPicPr>
              <p:cNvPr id="32" name="Picture 31">
                <a:extLst>
                  <a:ext uri="{FF2B5EF4-FFF2-40B4-BE49-F238E27FC236}">
                    <a16:creationId xmlns:a16="http://schemas.microsoft.com/office/drawing/2014/main" id="{9B8E6E2A-188E-A1E4-DD3F-965F6948AB1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3310384" y="1605159"/>
                <a:ext cx="484511" cy="801583"/>
              </a:xfrm>
              <a:prstGeom prst="rect">
                <a:avLst/>
              </a:prstGeom>
            </p:spPr>
          </p:pic>
          <p:pic>
            <p:nvPicPr>
              <p:cNvPr id="33" name="Picture 32" descr="A computer generated illustration of a machine&#10;&#10;Description automatically generated">
                <a:extLst>
                  <a:ext uri="{FF2B5EF4-FFF2-40B4-BE49-F238E27FC236}">
                    <a16:creationId xmlns:a16="http://schemas.microsoft.com/office/drawing/2014/main" id="{8C7A1187-5855-27A7-4BE5-80FC9510CE0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4883250" y="1635075"/>
                <a:ext cx="654959" cy="792391"/>
              </a:xfrm>
              <a:prstGeom prst="rect">
                <a:avLst/>
              </a:prstGeom>
            </p:spPr>
          </p:pic>
          <p:cxnSp>
            <p:nvCxnSpPr>
              <p:cNvPr id="34" name="Straight Arrow Connector 33">
                <a:extLst>
                  <a:ext uri="{FF2B5EF4-FFF2-40B4-BE49-F238E27FC236}">
                    <a16:creationId xmlns:a16="http://schemas.microsoft.com/office/drawing/2014/main" id="{9FB713F2-1EB7-7DF4-7FAC-558F8A9F9B3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62060" y="2104299"/>
                <a:ext cx="517749" cy="10591"/>
              </a:xfrm>
              <a:prstGeom prst="straightConnector1">
                <a:avLst/>
              </a:prstGeom>
              <a:ln w="57150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Arrow Connector 34">
                <a:extLst>
                  <a:ext uri="{FF2B5EF4-FFF2-40B4-BE49-F238E27FC236}">
                    <a16:creationId xmlns:a16="http://schemas.microsoft.com/office/drawing/2014/main" id="{59AED76E-818A-EBD5-4714-095BCE00718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594516" y="2104298"/>
                <a:ext cx="517749" cy="10591"/>
              </a:xfrm>
              <a:prstGeom prst="straightConnector1">
                <a:avLst/>
              </a:prstGeom>
              <a:ln w="57150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Arrow Connector 35">
                <a:extLst>
                  <a:ext uri="{FF2B5EF4-FFF2-40B4-BE49-F238E27FC236}">
                    <a16:creationId xmlns:a16="http://schemas.microsoft.com/office/drawing/2014/main" id="{D7C4A68E-145E-D59C-A4C6-394ED9820EE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40625" y="2120774"/>
                <a:ext cx="517749" cy="10591"/>
              </a:xfrm>
              <a:prstGeom prst="straightConnector1">
                <a:avLst/>
              </a:prstGeom>
              <a:ln w="57150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37" name="Picture 36" descr="A close-up of a machine&#10;&#10;Description automatically generated">
                <a:extLst>
                  <a:ext uri="{FF2B5EF4-FFF2-40B4-BE49-F238E27FC236}">
                    <a16:creationId xmlns:a16="http://schemas.microsoft.com/office/drawing/2014/main" id="{15DBC480-63FA-662A-FAC2-47836BFABE6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6096000" y="1607366"/>
                <a:ext cx="1085585" cy="866897"/>
              </a:xfrm>
              <a:prstGeom prst="rect">
                <a:avLst/>
              </a:prstGeom>
            </p:spPr>
          </p:pic>
          <p:pic>
            <p:nvPicPr>
              <p:cNvPr id="38" name="Picture 37" descr="A close-up of a metal object&#10;&#10;Description automatically generated">
                <a:extLst>
                  <a:ext uri="{FF2B5EF4-FFF2-40B4-BE49-F238E27FC236}">
                    <a16:creationId xmlns:a16="http://schemas.microsoft.com/office/drawing/2014/main" id="{4946DC52-FE61-93E4-1825-71B8C866DB5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7897905" y="1694110"/>
                <a:ext cx="396079" cy="740757"/>
              </a:xfrm>
              <a:prstGeom prst="rect">
                <a:avLst/>
              </a:prstGeom>
            </p:spPr>
          </p:pic>
          <p:pic>
            <p:nvPicPr>
              <p:cNvPr id="39" name="Picture 38" descr="A white machine with a round top&#10;&#10;Description automatically generated">
                <a:extLst>
                  <a:ext uri="{FF2B5EF4-FFF2-40B4-BE49-F238E27FC236}">
                    <a16:creationId xmlns:a16="http://schemas.microsoft.com/office/drawing/2014/main" id="{584125AD-09C2-DBA4-2560-9E21FBD48A3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9369512" y="1537638"/>
                <a:ext cx="747940" cy="936625"/>
              </a:xfrm>
              <a:prstGeom prst="rect">
                <a:avLst/>
              </a:prstGeom>
            </p:spPr>
          </p:pic>
          <p:cxnSp>
            <p:nvCxnSpPr>
              <p:cNvPr id="40" name="Straight Arrow Connector 39">
                <a:extLst>
                  <a:ext uri="{FF2B5EF4-FFF2-40B4-BE49-F238E27FC236}">
                    <a16:creationId xmlns:a16="http://schemas.microsoft.com/office/drawing/2014/main" id="{F4AA7F10-9D09-B33F-6910-0AF1CE760E9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210004" y="2152072"/>
                <a:ext cx="517749" cy="10591"/>
              </a:xfrm>
              <a:prstGeom prst="straightConnector1">
                <a:avLst/>
              </a:prstGeom>
              <a:ln w="57150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Arrow Connector 40">
                <a:extLst>
                  <a:ext uri="{FF2B5EF4-FFF2-40B4-BE49-F238E27FC236}">
                    <a16:creationId xmlns:a16="http://schemas.microsoft.com/office/drawing/2014/main" id="{1C11AC5F-B335-B3C4-1A28-2441CBCC3B64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652079" y="2129146"/>
                <a:ext cx="563236" cy="10591"/>
              </a:xfrm>
              <a:prstGeom prst="straightConnector1">
                <a:avLst/>
              </a:prstGeom>
              <a:ln w="57150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Arrow Connector 41">
                <a:extLst>
                  <a:ext uri="{FF2B5EF4-FFF2-40B4-BE49-F238E27FC236}">
                    <a16:creationId xmlns:a16="http://schemas.microsoft.com/office/drawing/2014/main" id="{A7DBA765-970E-3D9B-BCBA-FC88FADBAA7F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475547" y="2129146"/>
                <a:ext cx="517749" cy="10591"/>
              </a:xfrm>
              <a:prstGeom prst="straightConnector1">
                <a:avLst/>
              </a:prstGeom>
              <a:ln w="57150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43" name="Picture 42" descr="A close-up of a metal object&#10;&#10;Description automatically generated">
                <a:extLst>
                  <a:ext uri="{FF2B5EF4-FFF2-40B4-BE49-F238E27FC236}">
                    <a16:creationId xmlns:a16="http://schemas.microsoft.com/office/drawing/2014/main" id="{9C4E0433-3346-DA46-F21F-EFBFAD80DFF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11201940" y="1673546"/>
                <a:ext cx="396079" cy="740757"/>
              </a:xfrm>
              <a:prstGeom prst="rect">
                <a:avLst/>
              </a:prstGeom>
            </p:spPr>
          </p:pic>
          <p:cxnSp>
            <p:nvCxnSpPr>
              <p:cNvPr id="44" name="Straight Arrow Connector 43">
                <a:extLst>
                  <a:ext uri="{FF2B5EF4-FFF2-40B4-BE49-F238E27FC236}">
                    <a16:creationId xmlns:a16="http://schemas.microsoft.com/office/drawing/2014/main" id="{F2F2A29B-5942-CD7C-3866-6BC19DE88D7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611210" y="2179991"/>
                <a:ext cx="517749" cy="10591"/>
              </a:xfrm>
              <a:prstGeom prst="straightConnector1">
                <a:avLst/>
              </a:prstGeom>
              <a:ln w="57150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8" name="Rectangle 47">
              <a:extLst>
                <a:ext uri="{FF2B5EF4-FFF2-40B4-BE49-F238E27FC236}">
                  <a16:creationId xmlns:a16="http://schemas.microsoft.com/office/drawing/2014/main" id="{08A7987E-E458-213B-80F8-79C5B2667F6B}"/>
                </a:ext>
              </a:extLst>
            </p:cNvPr>
            <p:cNvSpPr/>
            <p:nvPr/>
          </p:nvSpPr>
          <p:spPr>
            <a:xfrm>
              <a:off x="3868211" y="958668"/>
              <a:ext cx="539901" cy="790363"/>
            </a:xfrm>
            <a:prstGeom prst="rect">
              <a:avLst/>
            </a:prstGeom>
            <a:noFill/>
            <a:ln w="3810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50" name="Picture 49">
            <a:extLst>
              <a:ext uri="{FF2B5EF4-FFF2-40B4-BE49-F238E27FC236}">
                <a16:creationId xmlns:a16="http://schemas.microsoft.com/office/drawing/2014/main" id="{2016837F-62B5-9721-617A-9E6BAC424AEE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1118968" y="18623"/>
            <a:ext cx="1036113" cy="1072048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43491B89-C308-D207-5CC4-47F02B5EE5E3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0" y="6325826"/>
            <a:ext cx="1634313" cy="210658"/>
          </a:xfrm>
          <a:prstGeom prst="rect">
            <a:avLst/>
          </a:prstGeom>
        </p:spPr>
      </p:pic>
      <p:graphicFrame>
        <p:nvGraphicFramePr>
          <p:cNvPr id="52" name="Object 51">
            <a:extLst>
              <a:ext uri="{FF2B5EF4-FFF2-40B4-BE49-F238E27FC236}">
                <a16:creationId xmlns:a16="http://schemas.microsoft.com/office/drawing/2014/main" id="{ADB2336B-297C-D213-E2F5-F580F23C934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95413343"/>
              </p:ext>
            </p:extLst>
          </p:nvPr>
        </p:nvGraphicFramePr>
        <p:xfrm>
          <a:off x="3860018" y="2411393"/>
          <a:ext cx="4035425" cy="27082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rism 10" r:id="rId18" imgW="4035681" imgH="2708635" progId="Prism10.Document">
                  <p:embed/>
                </p:oleObj>
              </mc:Choice>
              <mc:Fallback>
                <p:oleObj name="Prism 10" r:id="rId18" imgW="4035681" imgH="2708635" progId="Prism10.Document">
                  <p:embed/>
                  <p:pic>
                    <p:nvPicPr>
                      <p:cNvPr id="52" name="Object 51">
                        <a:extLst>
                          <a:ext uri="{FF2B5EF4-FFF2-40B4-BE49-F238E27FC236}">
                            <a16:creationId xmlns:a16="http://schemas.microsoft.com/office/drawing/2014/main" id="{ADB2336B-297C-D213-E2F5-F580F23C93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3860018" y="2411393"/>
                        <a:ext cx="4035425" cy="27082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3" name="Object 52">
            <a:extLst>
              <a:ext uri="{FF2B5EF4-FFF2-40B4-BE49-F238E27FC236}">
                <a16:creationId xmlns:a16="http://schemas.microsoft.com/office/drawing/2014/main" id="{AA906C16-6EE6-47BF-F4C1-534FB6B921F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27771838"/>
              </p:ext>
            </p:extLst>
          </p:nvPr>
        </p:nvGraphicFramePr>
        <p:xfrm>
          <a:off x="7728649" y="1957292"/>
          <a:ext cx="4002087" cy="3225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rism 10" r:id="rId20" imgW="4002188" imgH="3225302" progId="Prism10.Document">
                  <p:embed/>
                </p:oleObj>
              </mc:Choice>
              <mc:Fallback>
                <p:oleObj name="Prism 10" r:id="rId20" imgW="4002188" imgH="3225302" progId="Prism10.Document">
                  <p:embed/>
                  <p:pic>
                    <p:nvPicPr>
                      <p:cNvPr id="53" name="Object 52">
                        <a:extLst>
                          <a:ext uri="{FF2B5EF4-FFF2-40B4-BE49-F238E27FC236}">
                            <a16:creationId xmlns:a16="http://schemas.microsoft.com/office/drawing/2014/main" id="{AA906C16-6EE6-47BF-F4C1-534FB6B921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7728649" y="1957292"/>
                        <a:ext cx="4002087" cy="32258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17130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523096C3-8675-40F4-D68C-ADB6070A68C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68981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03" imgH="503" progId="TCLayout.ActiveDocument.1">
                  <p:embed/>
                </p:oleObj>
              </mc:Choice>
              <mc:Fallback>
                <p:oleObj name="think-cell Slide" r:id="rId4" imgW="503" imgH="50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23096C3-8675-40F4-D68C-ADB6070A68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F470B5A-2D5D-5E63-E1BF-C9F2104E4E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err="1"/>
              <a:t>AviPure</a:t>
            </a:r>
            <a:r>
              <a:rPr lang="en-US"/>
              <a:t> Affinity resin were the optimal process choice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735A34E-2476-897A-7F3C-DFD98CD2A647}"/>
              </a:ext>
            </a:extLst>
          </p:cNvPr>
          <p:cNvSpPr txBox="1">
            <a:spLocks/>
          </p:cNvSpPr>
          <p:nvPr/>
        </p:nvSpPr>
        <p:spPr>
          <a:xfrm>
            <a:off x="2192623" y="5651311"/>
            <a:ext cx="7806754" cy="684289"/>
          </a:xfrm>
          <a:prstGeom prst="rect">
            <a:avLst/>
          </a:prstGeom>
        </p:spPr>
        <p:txBody>
          <a:bodyPr vert="horz" lIns="91440" tIns="45720" rIns="91440" bIns="45720" numCol="2" rtlCol="0">
            <a:noAutofit/>
          </a:bodyPr>
          <a:lstStyle>
            <a:lvl1pPr marL="228594" indent="-228594" algn="l" defTabSz="914377" rtl="0" eaLnBrk="1" latinLnBrk="0" hangingPunct="1">
              <a:lnSpc>
                <a:spcPts val="2133"/>
              </a:lnSpc>
              <a:spcBef>
                <a:spcPts val="1000"/>
              </a:spcBef>
              <a:buClr>
                <a:schemeClr val="accent2"/>
              </a:buClr>
              <a:buFont typeface="Wingdings" pitchFamily="2" charset="2"/>
              <a:buChar char="§"/>
              <a:defRPr sz="1667" kern="1200">
                <a:solidFill>
                  <a:srgbClr val="2D39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2D3943"/>
              </a:buClr>
              <a:buFont typeface="System Font Regular"/>
              <a:buChar char="–"/>
              <a:defRPr sz="1667" kern="1200">
                <a:solidFill>
                  <a:srgbClr val="2D39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67" kern="1200">
                <a:solidFill>
                  <a:srgbClr val="2D39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rgbClr val="2D39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33" kern="1200">
                <a:solidFill>
                  <a:srgbClr val="2D39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en-US"/>
              <a:t>Similar binding capacity</a:t>
            </a:r>
          </a:p>
          <a:p>
            <a:pPr lvl="1"/>
            <a:r>
              <a:rPr lang="en-US"/>
              <a:t>Similar yield (&gt;85%)</a:t>
            </a:r>
          </a:p>
          <a:p>
            <a:pPr lvl="1"/>
            <a:r>
              <a:rPr lang="en-US"/>
              <a:t>Reduced G3BP contaminant</a:t>
            </a:r>
          </a:p>
          <a:p>
            <a:pPr lvl="1"/>
            <a:r>
              <a:rPr lang="en-US"/>
              <a:t>Easily cleaned and reusable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0060E4F4-CD08-7041-6C42-8BD575F81618}"/>
              </a:ext>
            </a:extLst>
          </p:cNvPr>
          <p:cNvSpPr txBox="1">
            <a:spLocks/>
          </p:cNvSpPr>
          <p:nvPr/>
        </p:nvSpPr>
        <p:spPr>
          <a:xfrm>
            <a:off x="3308979" y="5305095"/>
            <a:ext cx="5543561" cy="404029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228594" indent="-228594" algn="l" defTabSz="914377" rtl="0" eaLnBrk="1" latinLnBrk="0" hangingPunct="1">
              <a:lnSpc>
                <a:spcPts val="2133"/>
              </a:lnSpc>
              <a:spcBef>
                <a:spcPts val="1000"/>
              </a:spcBef>
              <a:buClr>
                <a:schemeClr val="accent2"/>
              </a:buClr>
              <a:buFont typeface="Wingdings" pitchFamily="2" charset="2"/>
              <a:buChar char="§"/>
              <a:defRPr sz="1667" kern="1200">
                <a:solidFill>
                  <a:srgbClr val="2D39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2D3943"/>
              </a:buClr>
              <a:buFont typeface="System Font Regular"/>
              <a:buChar char="–"/>
              <a:defRPr sz="1667" kern="1200">
                <a:solidFill>
                  <a:srgbClr val="2D39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67" kern="1200">
                <a:solidFill>
                  <a:srgbClr val="2D39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200" kern="1200">
                <a:solidFill>
                  <a:srgbClr val="2D39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933" kern="1200">
                <a:solidFill>
                  <a:srgbClr val="2D394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" pitchFamily="2" charset="2"/>
              <a:buNone/>
            </a:pPr>
            <a:r>
              <a:rPr lang="en-US" b="1" u="sng" err="1"/>
              <a:t>Avipure</a:t>
            </a:r>
            <a:r>
              <a:rPr lang="en-US" b="1" u="sng"/>
              <a:t> resin better choice than Poros AAV9 </a:t>
            </a:r>
          </a:p>
        </p:txBody>
      </p:sp>
      <p:graphicFrame>
        <p:nvGraphicFramePr>
          <p:cNvPr id="10" name="Object 9">
            <a:extLst>
              <a:ext uri="{FF2B5EF4-FFF2-40B4-BE49-F238E27FC236}">
                <a16:creationId xmlns:a16="http://schemas.microsoft.com/office/drawing/2014/main" id="{41D8CA5B-4023-A131-0103-BE1BF71143F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6561714"/>
              </p:ext>
            </p:extLst>
          </p:nvPr>
        </p:nvGraphicFramePr>
        <p:xfrm>
          <a:off x="535416" y="2001218"/>
          <a:ext cx="4641711" cy="32545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Prism 10" r:id="rId6" imgW="3850931" imgH="2700714" progId="Prism10.Document">
                  <p:embed/>
                </p:oleObj>
              </mc:Choice>
              <mc:Fallback>
                <p:oleObj name="Prism 10" r:id="rId6" imgW="3850931" imgH="2700714" progId="Prism10.Document">
                  <p:embed/>
                  <p:pic>
                    <p:nvPicPr>
                      <p:cNvPr id="10" name="Object 9">
                        <a:extLst>
                          <a:ext uri="{FF2B5EF4-FFF2-40B4-BE49-F238E27FC236}">
                            <a16:creationId xmlns:a16="http://schemas.microsoft.com/office/drawing/2014/main" id="{41D8CA5B-4023-A131-0103-BE1BF71143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535416" y="2001218"/>
                        <a:ext cx="4641711" cy="325455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1" name="Group 20">
            <a:extLst>
              <a:ext uri="{FF2B5EF4-FFF2-40B4-BE49-F238E27FC236}">
                <a16:creationId xmlns:a16="http://schemas.microsoft.com/office/drawing/2014/main" id="{909EF883-151E-A2C9-AAAC-5A8844565F12}"/>
              </a:ext>
            </a:extLst>
          </p:cNvPr>
          <p:cNvGrpSpPr/>
          <p:nvPr/>
        </p:nvGrpSpPr>
        <p:grpSpPr>
          <a:xfrm>
            <a:off x="5302129" y="2340569"/>
            <a:ext cx="6664367" cy="2413466"/>
            <a:chOff x="5285563" y="1556649"/>
            <a:chExt cx="6664367" cy="2413466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70194B50-D0D2-0169-5C5A-4A9451B3469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285563" y="1854996"/>
              <a:ext cx="3315257" cy="2087641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45BE90FF-88FB-0DAE-2C05-45E280B05CB5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rcRect r="6600"/>
            <a:stretch/>
          </p:blipFill>
          <p:spPr>
            <a:xfrm>
              <a:off x="8600820" y="1840860"/>
              <a:ext cx="3349110" cy="2129255"/>
            </a:xfrm>
            <a:prstGeom prst="rect">
              <a:avLst/>
            </a:prstGeom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0036966F-703A-BB3E-6CD4-2988A7FC31D5}"/>
                </a:ext>
              </a:extLst>
            </p:cNvPr>
            <p:cNvSpPr txBox="1"/>
            <p:nvPr/>
          </p:nvSpPr>
          <p:spPr>
            <a:xfrm>
              <a:off x="5719618" y="1556649"/>
              <a:ext cx="2447145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>
                  <a:solidFill>
                    <a:schemeClr val="accent2"/>
                  </a:solidFill>
                </a:rPr>
                <a:t>Purified with Poros AAV9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E4E63A3B-F8AE-B5DF-0BC4-53F3DBC7DD18}"/>
                </a:ext>
              </a:extLst>
            </p:cNvPr>
            <p:cNvSpPr txBox="1"/>
            <p:nvPr/>
          </p:nvSpPr>
          <p:spPr>
            <a:xfrm>
              <a:off x="9026802" y="1556649"/>
              <a:ext cx="261321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00">
                  <a:solidFill>
                    <a:schemeClr val="accent1"/>
                  </a:solidFill>
                </a:rPr>
                <a:t>Purified with </a:t>
              </a:r>
              <a:r>
                <a:rPr lang="en-US" sz="1600" err="1">
                  <a:solidFill>
                    <a:schemeClr val="accent1"/>
                  </a:solidFill>
                </a:rPr>
                <a:t>AviPure</a:t>
              </a:r>
              <a:r>
                <a:rPr lang="en-US" sz="1600">
                  <a:solidFill>
                    <a:schemeClr val="accent1"/>
                  </a:solidFill>
                </a:rPr>
                <a:t> AAV9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A3218192-9665-F0F0-07DE-475BF6E2B491}"/>
                </a:ext>
              </a:extLst>
            </p:cNvPr>
            <p:cNvSpPr txBox="1"/>
            <p:nvPr/>
          </p:nvSpPr>
          <p:spPr>
            <a:xfrm>
              <a:off x="7410458" y="2761947"/>
              <a:ext cx="101983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1200"/>
                <a:t>G3BP </a:t>
              </a:r>
            </a:p>
            <a:p>
              <a:pPr algn="ctr"/>
              <a:r>
                <a:rPr lang="en-US" sz="1200"/>
                <a:t>contaminant</a:t>
              </a:r>
            </a:p>
          </p:txBody>
        </p:sp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C4161446-CDFE-037D-2C4C-4061E51D6C9C}"/>
                </a:ext>
              </a:extLst>
            </p:cNvPr>
            <p:cNvCxnSpPr>
              <a:cxnSpLocks/>
            </p:cNvCxnSpPr>
            <p:nvPr/>
          </p:nvCxnSpPr>
          <p:spPr>
            <a:xfrm>
              <a:off x="7920373" y="3223612"/>
              <a:ext cx="0" cy="25684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97664730-05D4-F456-8E85-287AC69F1757}"/>
              </a:ext>
            </a:extLst>
          </p:cNvPr>
          <p:cNvGrpSpPr/>
          <p:nvPr/>
        </p:nvGrpSpPr>
        <p:grpSpPr>
          <a:xfrm>
            <a:off x="1443925" y="933626"/>
            <a:ext cx="9304150" cy="905133"/>
            <a:chOff x="1443925" y="933626"/>
            <a:chExt cx="9304150" cy="905133"/>
          </a:xfrm>
        </p:grpSpPr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689284AC-087A-B4E2-A605-F60C89F14D4B}"/>
                </a:ext>
              </a:extLst>
            </p:cNvPr>
            <p:cNvGrpSpPr/>
            <p:nvPr/>
          </p:nvGrpSpPr>
          <p:grpSpPr>
            <a:xfrm>
              <a:off x="1443925" y="933626"/>
              <a:ext cx="9304150" cy="905133"/>
              <a:chOff x="311061" y="1529154"/>
              <a:chExt cx="11286958" cy="1037355"/>
            </a:xfrm>
          </p:grpSpPr>
          <p:pic>
            <p:nvPicPr>
              <p:cNvPr id="45" name="Picture 44">
                <a:extLst>
                  <a:ext uri="{FF2B5EF4-FFF2-40B4-BE49-F238E27FC236}">
                    <a16:creationId xmlns:a16="http://schemas.microsoft.com/office/drawing/2014/main" id="{63655F8B-9A7F-65BB-2AEC-56956337E1C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311061" y="1529154"/>
                <a:ext cx="704275" cy="1037355"/>
              </a:xfrm>
              <a:prstGeom prst="rect">
                <a:avLst/>
              </a:prstGeom>
            </p:spPr>
          </p:pic>
          <p:grpSp>
            <p:nvGrpSpPr>
              <p:cNvPr id="46" name="Group 45">
                <a:extLst>
                  <a:ext uri="{FF2B5EF4-FFF2-40B4-BE49-F238E27FC236}">
                    <a16:creationId xmlns:a16="http://schemas.microsoft.com/office/drawing/2014/main" id="{365F7FAE-44FC-B527-CA4D-7DC3536F4ADF}"/>
                  </a:ext>
                </a:extLst>
              </p:cNvPr>
              <p:cNvGrpSpPr/>
              <p:nvPr/>
            </p:nvGrpSpPr>
            <p:grpSpPr>
              <a:xfrm>
                <a:off x="1769218" y="1709140"/>
                <a:ext cx="749713" cy="728725"/>
                <a:chOff x="7731702" y="1556472"/>
                <a:chExt cx="1743941" cy="1708439"/>
              </a:xfrm>
            </p:grpSpPr>
            <p:pic>
              <p:nvPicPr>
                <p:cNvPr id="60" name="Picture 59" descr="A blue and black circle with arrows&#10;&#10;Description automatically generated">
                  <a:extLst>
                    <a:ext uri="{FF2B5EF4-FFF2-40B4-BE49-F238E27FC236}">
                      <a16:creationId xmlns:a16="http://schemas.microsoft.com/office/drawing/2014/main" id="{C1D5CDF3-59A5-9FF3-552D-5275BA35A6D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8604539" y="1868200"/>
                  <a:ext cx="871104" cy="828675"/>
                </a:xfrm>
                <a:prstGeom prst="rect">
                  <a:avLst/>
                </a:prstGeom>
              </p:spPr>
            </p:pic>
            <p:pic>
              <p:nvPicPr>
                <p:cNvPr id="61" name="Picture 60" descr="A blue and black circle with arrows&#10;&#10;Description automatically generated">
                  <a:extLst>
                    <a:ext uri="{FF2B5EF4-FFF2-40B4-BE49-F238E27FC236}">
                      <a16:creationId xmlns:a16="http://schemas.microsoft.com/office/drawing/2014/main" id="{4E72AA52-AECC-16F2-4203-0550ADC70AC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7807902" y="1556472"/>
                  <a:ext cx="871104" cy="828675"/>
                </a:xfrm>
                <a:prstGeom prst="rect">
                  <a:avLst/>
                </a:prstGeom>
              </p:spPr>
            </p:pic>
            <p:pic>
              <p:nvPicPr>
                <p:cNvPr id="62" name="Picture 61" descr="A blue and black circle with arrows&#10;&#10;Description automatically generated">
                  <a:extLst>
                    <a:ext uri="{FF2B5EF4-FFF2-40B4-BE49-F238E27FC236}">
                      <a16:creationId xmlns:a16="http://schemas.microsoft.com/office/drawing/2014/main" id="{A7D04318-FD87-038C-2444-BB64AB71B91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1"/>
                <a:stretch>
                  <a:fillRect/>
                </a:stretch>
              </p:blipFill>
              <p:spPr>
                <a:xfrm>
                  <a:off x="7731702" y="2436236"/>
                  <a:ext cx="871104" cy="828675"/>
                </a:xfrm>
                <a:prstGeom prst="rect">
                  <a:avLst/>
                </a:prstGeom>
              </p:spPr>
            </p:pic>
          </p:grpSp>
          <p:pic>
            <p:nvPicPr>
              <p:cNvPr id="47" name="Picture 46">
                <a:extLst>
                  <a:ext uri="{FF2B5EF4-FFF2-40B4-BE49-F238E27FC236}">
                    <a16:creationId xmlns:a16="http://schemas.microsoft.com/office/drawing/2014/main" id="{810438A4-5829-4C11-7004-093B1FC589E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3310384" y="1605159"/>
                <a:ext cx="484511" cy="801583"/>
              </a:xfrm>
              <a:prstGeom prst="rect">
                <a:avLst/>
              </a:prstGeom>
            </p:spPr>
          </p:pic>
          <p:pic>
            <p:nvPicPr>
              <p:cNvPr id="48" name="Picture 47" descr="A computer generated illustration of a machine&#10;&#10;Description automatically generated">
                <a:extLst>
                  <a:ext uri="{FF2B5EF4-FFF2-40B4-BE49-F238E27FC236}">
                    <a16:creationId xmlns:a16="http://schemas.microsoft.com/office/drawing/2014/main" id="{9663C326-A496-0EAF-FAC2-E3E7C19CC7C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4883250" y="1635075"/>
                <a:ext cx="654959" cy="792391"/>
              </a:xfrm>
              <a:prstGeom prst="rect">
                <a:avLst/>
              </a:prstGeom>
            </p:spPr>
          </p:pic>
          <p:cxnSp>
            <p:nvCxnSpPr>
              <p:cNvPr id="49" name="Straight Arrow Connector 48">
                <a:extLst>
                  <a:ext uri="{FF2B5EF4-FFF2-40B4-BE49-F238E27FC236}">
                    <a16:creationId xmlns:a16="http://schemas.microsoft.com/office/drawing/2014/main" id="{BEDF2738-A117-256E-F02A-A09C629AEA5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4162060" y="2104299"/>
                <a:ext cx="517749" cy="10591"/>
              </a:xfrm>
              <a:prstGeom prst="straightConnector1">
                <a:avLst/>
              </a:prstGeom>
              <a:ln w="57150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Arrow Connector 49">
                <a:extLst>
                  <a:ext uri="{FF2B5EF4-FFF2-40B4-BE49-F238E27FC236}">
                    <a16:creationId xmlns:a16="http://schemas.microsoft.com/office/drawing/2014/main" id="{59DBF062-EC71-DC9B-DA7D-DCE9B91524B1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2594516" y="2104298"/>
                <a:ext cx="517749" cy="10591"/>
              </a:xfrm>
              <a:prstGeom prst="straightConnector1">
                <a:avLst/>
              </a:prstGeom>
              <a:ln w="57150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Arrow Connector 50">
                <a:extLst>
                  <a:ext uri="{FF2B5EF4-FFF2-40B4-BE49-F238E27FC236}">
                    <a16:creationId xmlns:a16="http://schemas.microsoft.com/office/drawing/2014/main" id="{0B725967-61CB-EB86-F52A-9814F248FFF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40625" y="2120774"/>
                <a:ext cx="517749" cy="10591"/>
              </a:xfrm>
              <a:prstGeom prst="straightConnector1">
                <a:avLst/>
              </a:prstGeom>
              <a:ln w="57150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52" name="Picture 51" descr="A close-up of a machine&#10;&#10;Description automatically generated">
                <a:extLst>
                  <a:ext uri="{FF2B5EF4-FFF2-40B4-BE49-F238E27FC236}">
                    <a16:creationId xmlns:a16="http://schemas.microsoft.com/office/drawing/2014/main" id="{DB829D37-2BA9-9B6E-396B-D42BA74623E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6096000" y="1607366"/>
                <a:ext cx="1085585" cy="866897"/>
              </a:xfrm>
              <a:prstGeom prst="rect">
                <a:avLst/>
              </a:prstGeom>
            </p:spPr>
          </p:pic>
          <p:pic>
            <p:nvPicPr>
              <p:cNvPr id="53" name="Picture 52" descr="A close-up of a metal object&#10;&#10;Description automatically generated">
                <a:extLst>
                  <a:ext uri="{FF2B5EF4-FFF2-40B4-BE49-F238E27FC236}">
                    <a16:creationId xmlns:a16="http://schemas.microsoft.com/office/drawing/2014/main" id="{7C76A54A-F456-1DFD-AECD-0412AA28A37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7897905" y="1694110"/>
                <a:ext cx="396079" cy="740757"/>
              </a:xfrm>
              <a:prstGeom prst="rect">
                <a:avLst/>
              </a:prstGeom>
            </p:spPr>
          </p:pic>
          <p:pic>
            <p:nvPicPr>
              <p:cNvPr id="54" name="Picture 53" descr="A white machine with a round top&#10;&#10;Description automatically generated">
                <a:extLst>
                  <a:ext uri="{FF2B5EF4-FFF2-40B4-BE49-F238E27FC236}">
                    <a16:creationId xmlns:a16="http://schemas.microsoft.com/office/drawing/2014/main" id="{BADEE470-531C-8ACE-2D03-D2DFA82C787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/>
              <a:stretch>
                <a:fillRect/>
              </a:stretch>
            </p:blipFill>
            <p:spPr>
              <a:xfrm>
                <a:off x="9369512" y="1537638"/>
                <a:ext cx="747940" cy="936625"/>
              </a:xfrm>
              <a:prstGeom prst="rect">
                <a:avLst/>
              </a:prstGeom>
            </p:spPr>
          </p:pic>
          <p:cxnSp>
            <p:nvCxnSpPr>
              <p:cNvPr id="55" name="Straight Arrow Connector 54">
                <a:extLst>
                  <a:ext uri="{FF2B5EF4-FFF2-40B4-BE49-F238E27FC236}">
                    <a16:creationId xmlns:a16="http://schemas.microsoft.com/office/drawing/2014/main" id="{618A324E-32BB-1AE1-5770-4A7AEFAD7E1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7210004" y="2152072"/>
                <a:ext cx="517749" cy="10591"/>
              </a:xfrm>
              <a:prstGeom prst="straightConnector1">
                <a:avLst/>
              </a:prstGeom>
              <a:ln w="57150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Straight Arrow Connector 55">
                <a:extLst>
                  <a:ext uri="{FF2B5EF4-FFF2-40B4-BE49-F238E27FC236}">
                    <a16:creationId xmlns:a16="http://schemas.microsoft.com/office/drawing/2014/main" id="{0C4F74C4-3267-85B0-EEF1-7934BFAB7686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652079" y="2129146"/>
                <a:ext cx="563236" cy="10591"/>
              </a:xfrm>
              <a:prstGeom prst="straightConnector1">
                <a:avLst/>
              </a:prstGeom>
              <a:ln w="57150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Straight Arrow Connector 56">
                <a:extLst>
                  <a:ext uri="{FF2B5EF4-FFF2-40B4-BE49-F238E27FC236}">
                    <a16:creationId xmlns:a16="http://schemas.microsoft.com/office/drawing/2014/main" id="{A3D39510-A7BF-4651-C72C-4321909A6453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10475547" y="2129146"/>
                <a:ext cx="517749" cy="10591"/>
              </a:xfrm>
              <a:prstGeom prst="straightConnector1">
                <a:avLst/>
              </a:prstGeom>
              <a:ln w="57150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pic>
            <p:nvPicPr>
              <p:cNvPr id="58" name="Picture 57" descr="A close-up of a metal object&#10;&#10;Description automatically generated">
                <a:extLst>
                  <a:ext uri="{FF2B5EF4-FFF2-40B4-BE49-F238E27FC236}">
                    <a16:creationId xmlns:a16="http://schemas.microsoft.com/office/drawing/2014/main" id="{0B9A115B-F924-87B8-5458-FF696D1C6E0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11201940" y="1673546"/>
                <a:ext cx="396079" cy="740757"/>
              </a:xfrm>
              <a:prstGeom prst="rect">
                <a:avLst/>
              </a:prstGeom>
            </p:spPr>
          </p:pic>
          <p:cxnSp>
            <p:nvCxnSpPr>
              <p:cNvPr id="59" name="Straight Arrow Connector 58">
                <a:extLst>
                  <a:ext uri="{FF2B5EF4-FFF2-40B4-BE49-F238E27FC236}">
                    <a16:creationId xmlns:a16="http://schemas.microsoft.com/office/drawing/2014/main" id="{75B8AC21-9981-3595-5A25-2CF21926100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611210" y="2179991"/>
                <a:ext cx="517749" cy="10591"/>
              </a:xfrm>
              <a:prstGeom prst="straightConnector1">
                <a:avLst/>
              </a:prstGeom>
              <a:ln w="57150"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A4947CA8-2611-EE0F-34B8-54F1C3034D21}"/>
                </a:ext>
              </a:extLst>
            </p:cNvPr>
            <p:cNvSpPr/>
            <p:nvPr/>
          </p:nvSpPr>
          <p:spPr>
            <a:xfrm>
              <a:off x="6328966" y="984888"/>
              <a:ext cx="738463" cy="790363"/>
            </a:xfrm>
            <a:prstGeom prst="rect">
              <a:avLst/>
            </a:prstGeom>
            <a:noFill/>
            <a:ln w="38100"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63" name="Picture 62">
            <a:extLst>
              <a:ext uri="{FF2B5EF4-FFF2-40B4-BE49-F238E27FC236}">
                <a16:creationId xmlns:a16="http://schemas.microsoft.com/office/drawing/2014/main" id="{DBAC8D1C-9DE7-017B-4134-0CC85746696B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1118968" y="18623"/>
            <a:ext cx="1036113" cy="1072048"/>
          </a:xfrm>
          <a:prstGeom prst="rect">
            <a:avLst/>
          </a:prstGeom>
        </p:spPr>
      </p:pic>
      <p:pic>
        <p:nvPicPr>
          <p:cNvPr id="64" name="Picture 63">
            <a:extLst>
              <a:ext uri="{FF2B5EF4-FFF2-40B4-BE49-F238E27FC236}">
                <a16:creationId xmlns:a16="http://schemas.microsoft.com/office/drawing/2014/main" id="{2C19D71C-E3CD-8468-58A0-16E5D6601906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0" y="6325826"/>
            <a:ext cx="1634313" cy="2106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6034402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8224&quot;&gt;&lt;version val=&quot;35628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.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Affinia">
      <a:dk1>
        <a:srgbClr val="000000"/>
      </a:dk1>
      <a:lt1>
        <a:srgbClr val="FFFFFF"/>
      </a:lt1>
      <a:dk2>
        <a:srgbClr val="595959"/>
      </a:dk2>
      <a:lt2>
        <a:srgbClr val="B2B2B2"/>
      </a:lt2>
      <a:accent1>
        <a:srgbClr val="7EBA00"/>
      </a:accent1>
      <a:accent2>
        <a:srgbClr val="0FC8D0"/>
      </a:accent2>
      <a:accent3>
        <a:srgbClr val="15748B"/>
      </a:accent3>
      <a:accent4>
        <a:srgbClr val="622BB2"/>
      </a:accent4>
      <a:accent5>
        <a:srgbClr val="0D3B7F"/>
      </a:accent5>
      <a:accent6>
        <a:srgbClr val="248ED0"/>
      </a:accent6>
      <a:hlink>
        <a:srgbClr val="7EB900"/>
      </a:hlink>
      <a:folHlink>
        <a:srgbClr val="0EC8C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TechOps_01Nov2024  -  Read-Only" id="{5A9A084E-8CBC-DB42-98D3-F2C42A848B4F}" vid="{481E95DF-89EB-4145-A757-986A89B0FC6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B4979D383CD3A438F961342A75B28B4" ma:contentTypeVersion="21" ma:contentTypeDescription="Create a new document." ma:contentTypeScope="" ma:versionID="e79182852083e73540e934761684eda6">
  <xsd:schema xmlns:xsd="http://www.w3.org/2001/XMLSchema" xmlns:xs="http://www.w3.org/2001/XMLSchema" xmlns:p="http://schemas.microsoft.com/office/2006/metadata/properties" xmlns:ns1="http://schemas.microsoft.com/sharepoint/v3" xmlns:ns2="6f857524-e191-49b2-a224-9256542b0ba5" xmlns:ns3="f4d8d4c9-a70a-44db-87a1-93ae2634f054" targetNamespace="http://schemas.microsoft.com/office/2006/metadata/properties" ma:root="true" ma:fieldsID="4689f37235f7c6c99e0d12957e2218bf" ns1:_="" ns2:_="" ns3:_="">
    <xsd:import namespace="http://schemas.microsoft.com/sharepoint/v3"/>
    <xsd:import namespace="6f857524-e191-49b2-a224-9256542b0ba5"/>
    <xsd:import namespace="f4d8d4c9-a70a-44db-87a1-93ae2634f05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1:_ip_UnifiedCompliancePolicyProperties" minOccurs="0"/>
                <xsd:element ref="ns1:_ip_UnifiedCompliancePolicyUIAction" minOccurs="0"/>
                <xsd:element ref="ns2:MediaServiceSearchProperties" minOccurs="0"/>
                <xsd:element ref="ns2:MediaServiceObjectDetectorVersions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3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4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f857524-e191-49b2-a224-9256542b0b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c9fc697f-9ab2-493a-acb2-da97a08ca2f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26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BillingMetadata" ma:index="27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d8d4c9-a70a-44db-87a1-93ae2634f054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170098e7-5410-4f84-a356-46cbb786909a}" ma:internalName="TaxCatchAll" ma:showField="CatchAllData" ma:web="f4d8d4c9-a70a-44db-87a1-93ae2634f05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  <SharedWithUsers xmlns="f4d8d4c9-a70a-44db-87a1-93ae2634f054">
      <UserInfo>
        <DisplayName>Petra Kaufmann</DisplayName>
        <AccountId>348</AccountId>
        <AccountType/>
      </UserInfo>
      <UserInfo>
        <DisplayName>Robert Aboud</DisplayName>
        <AccountId>13</AccountId>
        <AccountType/>
      </UserInfo>
      <UserInfo>
        <DisplayName>Vivian Lin</DisplayName>
        <AccountId>1974</AccountId>
        <AccountType/>
      </UserInfo>
      <UserInfo>
        <DisplayName>Paul Freeman</DisplayName>
        <AccountId>291</AccountId>
        <AccountType/>
      </UserInfo>
      <UserInfo>
        <DisplayName>Erin Noll</DisplayName>
        <AccountId>14</AccountId>
        <AccountType/>
      </UserInfo>
      <UserInfo>
        <DisplayName>Cynthia Pryce</DisplayName>
        <AccountId>544</AccountId>
        <AccountType/>
      </UserInfo>
      <UserInfo>
        <DisplayName>Fagun Shah</DisplayName>
        <AccountId>2018</AccountId>
        <AccountType/>
      </UserInfo>
      <UserInfo>
        <DisplayName>Shahrzad Parker</DisplayName>
        <AccountId>1685</AccountId>
        <AccountType/>
      </UserInfo>
      <UserInfo>
        <DisplayName>Michael Liotta</DisplayName>
        <AccountId>2005</AccountId>
        <AccountType/>
      </UserInfo>
      <UserInfo>
        <DisplayName>Cara West</DisplayName>
        <AccountId>597</AccountId>
        <AccountType/>
      </UserInfo>
    </SharedWithUsers>
    <TaxCatchAll xmlns="f4d8d4c9-a70a-44db-87a1-93ae2634f054" xsi:nil="true"/>
    <lcf76f155ced4ddcb4097134ff3c332f xmlns="6f857524-e191-49b2-a224-9256542b0ba5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A6C73F6-0745-42F8-B5ED-E56CE567B1B6}">
  <ds:schemaRefs>
    <ds:schemaRef ds:uri="6f857524-e191-49b2-a224-9256542b0ba5"/>
    <ds:schemaRef ds:uri="f4d8d4c9-a70a-44db-87a1-93ae2634f05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F1E37E1A-94AF-41B6-BA23-D75A5D0490B6}">
  <ds:schemaRefs>
    <ds:schemaRef ds:uri="6f857524-e191-49b2-a224-9256542b0ba5"/>
    <ds:schemaRef ds:uri="f4d8d4c9-a70a-44db-87a1-93ae2634f054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1EAB1374-FE9C-457A-AE5B-AA24B8BFC6F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945</Words>
  <Application>Microsoft Office PowerPoint</Application>
  <PresentationFormat>Widescreen</PresentationFormat>
  <Paragraphs>203</Paragraphs>
  <Slides>13</Slides>
  <Notes>4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4" baseType="lpstr">
      <vt:lpstr>Office Theme</vt:lpstr>
      <vt:lpstr>Development of a Flexible High Yielding, High Performing Process for Manufacturing of AFTX-201, a Novel Investigational AAV Gene Therapy for Treatment of BAG3 Dilated Cardiomyopathy</vt:lpstr>
      <vt:lpstr>BAG3 DCM is a devastating disease</vt:lpstr>
      <vt:lpstr>PowerPoint Presentation</vt:lpstr>
      <vt:lpstr>Affinia’s novel cardiotropic capsids are engineered to address the limitations of conventional capsids in heart disease</vt:lpstr>
      <vt:lpstr>Process development for AFTX-201</vt:lpstr>
      <vt:lpstr>Process flow diagram for AFTX-201</vt:lpstr>
      <vt:lpstr>Use of Affinia plasmid design led to yields of &gt;3e15 vg/L</vt:lpstr>
      <vt:lpstr>Harvest RC filters were optimal process choice</vt:lpstr>
      <vt:lpstr>AviPure Affinity resin were the optimal process choice</vt:lpstr>
      <vt:lpstr>Potency assay for AFTX-201 developed to help support process development</vt:lpstr>
      <vt:lpstr>Process for AFTX-201 was successfully tech transferred to Forge Biologics</vt:lpstr>
      <vt:lpstr>Conclusions</vt:lpstr>
      <vt:lpstr>Acknowledgment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Slide header</dc:title>
  <dc:creator>Erin Cote</dc:creator>
  <cp:lastModifiedBy>Rami Daoud</cp:lastModifiedBy>
  <cp:revision>78</cp:revision>
  <cp:lastPrinted>2025-01-07T16:53:14Z</cp:lastPrinted>
  <dcterms:created xsi:type="dcterms:W3CDTF">2021-04-14T14:36:41Z</dcterms:created>
  <dcterms:modified xsi:type="dcterms:W3CDTF">2025-05-09T12:49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B4979D383CD3A438F961342A75B28B4</vt:lpwstr>
  </property>
  <property fmtid="{D5CDD505-2E9C-101B-9397-08002B2CF9AE}" pid="3" name="MediaServiceImageTags">
    <vt:lpwstr/>
  </property>
</Properties>
</file>